
<file path=[Content_Types].xml><?xml version="1.0" encoding="utf-8"?>
<Types xmlns="http://schemas.openxmlformats.org/package/2006/content-types"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8" r:id="rId4"/>
    <p:sldId id="259" r:id="rId5"/>
    <p:sldId id="260" r:id="rId6"/>
    <p:sldId id="261" r:id="rId7"/>
    <p:sldId id="272" r:id="rId8"/>
    <p:sldId id="263" r:id="rId9"/>
    <p:sldId id="273" r:id="rId10"/>
    <p:sldId id="265" r:id="rId11"/>
    <p:sldId id="266" r:id="rId12"/>
    <p:sldId id="267" r:id="rId13"/>
    <p:sldId id="268" r:id="rId14"/>
    <p:sldId id="269" r:id="rId15"/>
    <p:sldId id="270" r:id="rId16"/>
    <p:sldId id="271" r:id="rId17"/>
  </p:sldIdLst>
  <p:sldSz cx="12192000" cy="6858000"/>
  <p:notesSz cx="6858000" cy="9144000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Poppins" panose="00000500000000000000" pitchFamily="2" charset="0"/>
      <p:regular r:id="rId23"/>
      <p:bold r:id="rId24"/>
      <p:italic r:id="rId25"/>
      <p:boldItalic r:id="rId26"/>
    </p:embeddedFont>
    <p:embeddedFont>
      <p:font typeface="Roboto" pitchFamily="2" charset="0"/>
      <p:regular r:id="rId27"/>
      <p:bold r:id="rId28"/>
      <p:italic r:id="rId29"/>
      <p:boldItalic r:id="rId30"/>
    </p:embeddedFont>
    <p:embeddedFont>
      <p:font typeface="Roboto Light" panose="02000000000000000000" pitchFamily="2" charset="0"/>
      <p:regular r:id="rId31"/>
      <p:bold r:id="rId32"/>
      <p:italic r:id="rId33"/>
      <p:boldItalic r:id="rId3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5" roundtripDataSignature="AMtx7mhxW1K1MY36JfFK5sLxaAVRp5GkP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font" Target="fonts/font1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7.fntdata"/><Relationship Id="rId33" Type="http://schemas.openxmlformats.org/officeDocument/2006/relationships/font" Target="fonts/font15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customschemas.google.com/relationships/presentationmetadata" Target="meta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" name="Google Shape;8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3" name="Google Shape;59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Google Shape;620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1" name="Google Shape;621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5" name="Google Shape;64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3" name="Google Shape;673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6" name="Google Shape;696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4" name="Google Shape;73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5" name="Google Shape;1005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6" name="Google Shape;100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16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" name="Google Shape;12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" name="Google Shape;125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" name="Google Shape;17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5" name="Google Shape;215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" name="Google Shape;457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8" name="Google Shape;458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Google Shape;48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6" name="Google Shape;48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Google Shape;500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1" name="Google Shape;501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81324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5" name="Google Shape;52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5" name="Google Shape;52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88315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 (9)">
  <p:cSld name="Intro (9)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18"/>
          <p:cNvSpPr>
            <a:spLocks noGrp="1"/>
          </p:cNvSpPr>
          <p:nvPr>
            <p:ph type="pic" idx="2"/>
          </p:nvPr>
        </p:nvSpPr>
        <p:spPr>
          <a:xfrm>
            <a:off x="635000" y="635000"/>
            <a:ext cx="1069474" cy="5080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7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4" name="Google Shape;64;p27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8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1" name="Google Shape;71;p28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2" name="Google Shape;72;p2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2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9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2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30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30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3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3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TITL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2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1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" name="Google Shape;27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2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22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23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4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4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" name="Google Shape;46;p24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2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2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g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47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jpg"/><Relationship Id="rId5" Type="http://schemas.openxmlformats.org/officeDocument/2006/relationships/image" Target="../media/image2.jpg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.jpg"/><Relationship Id="rId4" Type="http://schemas.openxmlformats.org/officeDocument/2006/relationships/image" Target="../media/image3.jpg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4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2.jp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0.png"/><Relationship Id="rId5" Type="http://schemas.openxmlformats.org/officeDocument/2006/relationships/image" Target="../media/image4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29.png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2.png"/><Relationship Id="rId4" Type="http://schemas.openxmlformats.org/officeDocument/2006/relationships/image" Target="../media/image30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oogle Shape;92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Google Shape;93;p1"/>
          <p:cNvSpPr/>
          <p:nvPr/>
        </p:nvSpPr>
        <p:spPr>
          <a:xfrm>
            <a:off x="10032999" y="2349500"/>
            <a:ext cx="2159001" cy="2159001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10800" y="21600"/>
                </a:lnTo>
                <a:cubicBezTo>
                  <a:pt x="4835" y="21600"/>
                  <a:pt x="0" y="1676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lnTo>
                  <a:pt x="21600" y="0"/>
                </a:lnTo>
                <a:close/>
              </a:path>
            </a:pathLst>
          </a:custGeom>
          <a:solidFill>
            <a:srgbClr val="00BEF0"/>
          </a:solidFill>
          <a:ln>
            <a:noFill/>
          </a:ln>
        </p:spPr>
        <p:txBody>
          <a:bodyPr spcFirstLastPara="1" wrap="square" lIns="22850" tIns="45700" rIns="2285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 i="0" u="none" strike="noStrike" cap="none">
              <a:solidFill>
                <a:srgbClr val="FFFF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4" name="Google Shape;94;p1"/>
          <p:cNvSpPr/>
          <p:nvPr/>
        </p:nvSpPr>
        <p:spPr>
          <a:xfrm>
            <a:off x="10758153" y="3032125"/>
            <a:ext cx="793751" cy="793750"/>
          </a:xfrm>
          <a:prstGeom prst="ellipse">
            <a:avLst/>
          </a:prstGeom>
          <a:noFill/>
          <a:ln w="63500" cap="flat" cmpd="sng">
            <a:solidFill>
              <a:srgbClr val="FFFFFF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 i="0" u="none" strike="noStrike" cap="none">
              <a:solidFill>
                <a:srgbClr val="FFFF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95" name="Google Shape;95;p1"/>
          <p:cNvCxnSpPr/>
          <p:nvPr/>
        </p:nvCxnSpPr>
        <p:spPr>
          <a:xfrm>
            <a:off x="11007096" y="3429000"/>
            <a:ext cx="296182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miter lim="400000"/>
            <a:headEnd type="none" w="sm" len="sm"/>
            <a:tailEnd type="stealth" w="med" len="med"/>
          </a:ln>
        </p:spPr>
      </p:cxnSp>
      <p:grpSp>
        <p:nvGrpSpPr>
          <p:cNvPr id="96" name="Google Shape;96;p1"/>
          <p:cNvGrpSpPr/>
          <p:nvPr/>
        </p:nvGrpSpPr>
        <p:grpSpPr>
          <a:xfrm>
            <a:off x="823295" y="845375"/>
            <a:ext cx="1488636" cy="256205"/>
            <a:chOff x="1447975" y="1300681"/>
            <a:chExt cx="3558981" cy="612528"/>
          </a:xfrm>
        </p:grpSpPr>
        <p:sp>
          <p:nvSpPr>
            <p:cNvPr id="97" name="Google Shape;97;p1"/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/>
              <a:ahLst/>
              <a:cxnLst/>
              <a:rect l="l" t="t" r="r" b="b"/>
              <a:pathLst>
                <a:path w="197959" h="262511" extrusionOk="0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98;p1"/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/>
              <a:ahLst/>
              <a:cxnLst/>
              <a:rect l="l" t="t" r="r" b="b"/>
              <a:pathLst>
                <a:path w="172134" h="262511" extrusionOk="0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99;p1"/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/>
              <a:ahLst/>
              <a:cxnLst/>
              <a:rect l="l" t="t" r="r" b="b"/>
              <a:pathLst>
                <a:path w="755979" h="285464" extrusionOk="0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100;p1"/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/>
              <a:ahLst/>
              <a:cxnLst/>
              <a:rect l="l" t="t" r="r" b="b"/>
              <a:pathLst>
                <a:path w="3558981" h="612528" extrusionOk="0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1" name="Google Shape;101;p1"/>
          <p:cNvGrpSpPr/>
          <p:nvPr/>
        </p:nvGrpSpPr>
        <p:grpSpPr>
          <a:xfrm>
            <a:off x="9427830" y="5766863"/>
            <a:ext cx="2128368" cy="413385"/>
            <a:chOff x="5033962" y="3224212"/>
            <a:chExt cx="2128368" cy="413385"/>
          </a:xfrm>
        </p:grpSpPr>
        <p:sp>
          <p:nvSpPr>
            <p:cNvPr id="102" name="Google Shape;102;p1"/>
            <p:cNvSpPr/>
            <p:nvPr/>
          </p:nvSpPr>
          <p:spPr>
            <a:xfrm>
              <a:off x="5033962" y="3224212"/>
              <a:ext cx="413385" cy="413385"/>
            </a:xfrm>
            <a:custGeom>
              <a:avLst/>
              <a:gdLst/>
              <a:ahLst/>
              <a:cxnLst/>
              <a:rect l="l" t="t" r="r" b="b"/>
              <a:pathLst>
                <a:path w="413385" h="413385" extrusionOk="0">
                  <a:moveTo>
                    <a:pt x="206693" y="0"/>
                  </a:moveTo>
                  <a:cubicBezTo>
                    <a:pt x="92393" y="0"/>
                    <a:pt x="0" y="92393"/>
                    <a:pt x="0" y="206693"/>
                  </a:cubicBezTo>
                  <a:cubicBezTo>
                    <a:pt x="0" y="320993"/>
                    <a:pt x="92393" y="413385"/>
                    <a:pt x="206693" y="413385"/>
                  </a:cubicBezTo>
                  <a:cubicBezTo>
                    <a:pt x="320993" y="413385"/>
                    <a:pt x="413385" y="320993"/>
                    <a:pt x="413385" y="206693"/>
                  </a:cubicBezTo>
                  <a:cubicBezTo>
                    <a:pt x="413385" y="92393"/>
                    <a:pt x="320040" y="0"/>
                    <a:pt x="206693" y="0"/>
                  </a:cubicBezTo>
                  <a:close/>
                  <a:moveTo>
                    <a:pt x="177165" y="294323"/>
                  </a:moveTo>
                  <a:lnTo>
                    <a:pt x="161925" y="339090"/>
                  </a:lnTo>
                  <a:cubicBezTo>
                    <a:pt x="104775" y="320040"/>
                    <a:pt x="66675" y="265748"/>
                    <a:pt x="66675" y="204788"/>
                  </a:cubicBezTo>
                  <a:cubicBezTo>
                    <a:pt x="66675" y="143828"/>
                    <a:pt x="104775" y="90488"/>
                    <a:pt x="162878" y="70485"/>
                  </a:cubicBezTo>
                  <a:lnTo>
                    <a:pt x="178118" y="115253"/>
                  </a:lnTo>
                  <a:cubicBezTo>
                    <a:pt x="140018" y="127635"/>
                    <a:pt x="115253" y="163830"/>
                    <a:pt x="115253" y="203835"/>
                  </a:cubicBezTo>
                  <a:cubicBezTo>
                    <a:pt x="114300" y="245745"/>
                    <a:pt x="139065" y="281940"/>
                    <a:pt x="177165" y="294323"/>
                  </a:cubicBezTo>
                  <a:close/>
                  <a:moveTo>
                    <a:pt x="248603" y="340043"/>
                  </a:moveTo>
                  <a:lnTo>
                    <a:pt x="234315" y="295275"/>
                  </a:lnTo>
                  <a:cubicBezTo>
                    <a:pt x="273368" y="282893"/>
                    <a:pt x="299085" y="246698"/>
                    <a:pt x="299085" y="205740"/>
                  </a:cubicBezTo>
                  <a:cubicBezTo>
                    <a:pt x="299085" y="164783"/>
                    <a:pt x="273368" y="129540"/>
                    <a:pt x="235268" y="117158"/>
                  </a:cubicBezTo>
                  <a:lnTo>
                    <a:pt x="250508" y="71438"/>
                  </a:lnTo>
                  <a:cubicBezTo>
                    <a:pt x="308610" y="90488"/>
                    <a:pt x="347663" y="144780"/>
                    <a:pt x="347663" y="205740"/>
                  </a:cubicBezTo>
                  <a:cubicBezTo>
                    <a:pt x="346710" y="267653"/>
                    <a:pt x="306705" y="321945"/>
                    <a:pt x="248603" y="340043"/>
                  </a:cubicBezTo>
                  <a:close/>
                </a:path>
              </a:pathLst>
            </a:custGeom>
            <a:solidFill>
              <a:srgbClr val="00BE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"/>
            <p:cNvSpPr/>
            <p:nvPr/>
          </p:nvSpPr>
          <p:spPr>
            <a:xfrm>
              <a:off x="5549264" y="3334702"/>
              <a:ext cx="1613066" cy="262890"/>
            </a:xfrm>
            <a:custGeom>
              <a:avLst/>
              <a:gdLst/>
              <a:ahLst/>
              <a:cxnLst/>
              <a:rect l="l" t="t" r="r" b="b"/>
              <a:pathLst>
                <a:path w="1613066" h="262890" extrusionOk="0">
                  <a:moveTo>
                    <a:pt x="1583055" y="132398"/>
                  </a:moveTo>
                  <a:lnTo>
                    <a:pt x="1605915" y="160020"/>
                  </a:lnTo>
                  <a:cubicBezTo>
                    <a:pt x="1582103" y="184785"/>
                    <a:pt x="1552575" y="191453"/>
                    <a:pt x="1528763" y="191453"/>
                  </a:cubicBezTo>
                  <a:cubicBezTo>
                    <a:pt x="1504950" y="191453"/>
                    <a:pt x="1489710" y="187642"/>
                    <a:pt x="1475423" y="180975"/>
                  </a:cubicBezTo>
                  <a:cubicBezTo>
                    <a:pt x="1444943" y="165735"/>
                    <a:pt x="1429703" y="135255"/>
                    <a:pt x="1429703" y="98107"/>
                  </a:cubicBezTo>
                  <a:cubicBezTo>
                    <a:pt x="1429703" y="41910"/>
                    <a:pt x="1467803" y="0"/>
                    <a:pt x="1524000" y="0"/>
                  </a:cubicBezTo>
                  <a:cubicBezTo>
                    <a:pt x="1586865" y="0"/>
                    <a:pt x="1617345" y="46672"/>
                    <a:pt x="1612583" y="107632"/>
                  </a:cubicBezTo>
                  <a:lnTo>
                    <a:pt x="1469708" y="107632"/>
                  </a:lnTo>
                  <a:cubicBezTo>
                    <a:pt x="1470660" y="122873"/>
                    <a:pt x="1479233" y="137160"/>
                    <a:pt x="1491615" y="144780"/>
                  </a:cubicBezTo>
                  <a:cubicBezTo>
                    <a:pt x="1502093" y="151448"/>
                    <a:pt x="1514475" y="154305"/>
                    <a:pt x="1530668" y="154305"/>
                  </a:cubicBezTo>
                  <a:cubicBezTo>
                    <a:pt x="1548765" y="155258"/>
                    <a:pt x="1566863" y="148590"/>
                    <a:pt x="1583055" y="132398"/>
                  </a:cubicBezTo>
                  <a:close/>
                  <a:moveTo>
                    <a:pt x="1471613" y="75248"/>
                  </a:moveTo>
                  <a:lnTo>
                    <a:pt x="1572578" y="75248"/>
                  </a:lnTo>
                  <a:cubicBezTo>
                    <a:pt x="1569720" y="53340"/>
                    <a:pt x="1551623" y="34290"/>
                    <a:pt x="1523048" y="34290"/>
                  </a:cubicBezTo>
                  <a:cubicBezTo>
                    <a:pt x="1492568" y="34290"/>
                    <a:pt x="1474470" y="55245"/>
                    <a:pt x="1471613" y="75248"/>
                  </a:cubicBezTo>
                  <a:close/>
                  <a:moveTo>
                    <a:pt x="511493" y="186690"/>
                  </a:moveTo>
                  <a:lnTo>
                    <a:pt x="562928" y="186690"/>
                  </a:lnTo>
                  <a:lnTo>
                    <a:pt x="481965" y="92392"/>
                  </a:lnTo>
                  <a:lnTo>
                    <a:pt x="561975" y="3810"/>
                  </a:lnTo>
                  <a:lnTo>
                    <a:pt x="511493" y="3810"/>
                  </a:lnTo>
                  <a:lnTo>
                    <a:pt x="450533" y="74295"/>
                  </a:lnTo>
                  <a:lnTo>
                    <a:pt x="432435" y="74295"/>
                  </a:lnTo>
                  <a:lnTo>
                    <a:pt x="432435" y="3810"/>
                  </a:lnTo>
                  <a:lnTo>
                    <a:pt x="393383" y="3810"/>
                  </a:lnTo>
                  <a:lnTo>
                    <a:pt x="393383" y="185738"/>
                  </a:lnTo>
                  <a:lnTo>
                    <a:pt x="432435" y="185738"/>
                  </a:lnTo>
                  <a:lnTo>
                    <a:pt x="432435" y="113348"/>
                  </a:lnTo>
                  <a:lnTo>
                    <a:pt x="450533" y="113348"/>
                  </a:lnTo>
                  <a:lnTo>
                    <a:pt x="511493" y="186690"/>
                  </a:lnTo>
                  <a:close/>
                  <a:moveTo>
                    <a:pt x="680085" y="37147"/>
                  </a:moveTo>
                  <a:cubicBezTo>
                    <a:pt x="646748" y="37147"/>
                    <a:pt x="624840" y="62865"/>
                    <a:pt x="624840" y="95250"/>
                  </a:cubicBezTo>
                  <a:cubicBezTo>
                    <a:pt x="624840" y="127635"/>
                    <a:pt x="646748" y="153353"/>
                    <a:pt x="680085" y="153353"/>
                  </a:cubicBezTo>
                  <a:cubicBezTo>
                    <a:pt x="713423" y="153353"/>
                    <a:pt x="734378" y="128588"/>
                    <a:pt x="734378" y="95250"/>
                  </a:cubicBezTo>
                  <a:cubicBezTo>
                    <a:pt x="734378" y="63817"/>
                    <a:pt x="714375" y="37147"/>
                    <a:pt x="680085" y="37147"/>
                  </a:cubicBezTo>
                  <a:close/>
                  <a:moveTo>
                    <a:pt x="686753" y="0"/>
                  </a:moveTo>
                  <a:cubicBezTo>
                    <a:pt x="738188" y="0"/>
                    <a:pt x="776288" y="40005"/>
                    <a:pt x="776288" y="95250"/>
                  </a:cubicBezTo>
                  <a:cubicBezTo>
                    <a:pt x="776288" y="150495"/>
                    <a:pt x="739140" y="191453"/>
                    <a:pt x="686753" y="191453"/>
                  </a:cubicBezTo>
                  <a:cubicBezTo>
                    <a:pt x="661988" y="191453"/>
                    <a:pt x="641985" y="182880"/>
                    <a:pt x="627698" y="167640"/>
                  </a:cubicBezTo>
                  <a:lnTo>
                    <a:pt x="627698" y="262890"/>
                  </a:lnTo>
                  <a:lnTo>
                    <a:pt x="587693" y="262890"/>
                  </a:lnTo>
                  <a:lnTo>
                    <a:pt x="587693" y="4763"/>
                  </a:lnTo>
                  <a:lnTo>
                    <a:pt x="626745" y="4763"/>
                  </a:lnTo>
                  <a:lnTo>
                    <a:pt x="626745" y="26670"/>
                  </a:lnTo>
                  <a:cubicBezTo>
                    <a:pt x="641985" y="8572"/>
                    <a:pt x="661035" y="0"/>
                    <a:pt x="686753" y="0"/>
                  </a:cubicBezTo>
                  <a:close/>
                  <a:moveTo>
                    <a:pt x="1204913" y="4763"/>
                  </a:moveTo>
                  <a:lnTo>
                    <a:pt x="1042035" y="4763"/>
                  </a:lnTo>
                  <a:lnTo>
                    <a:pt x="1042035" y="40957"/>
                  </a:lnTo>
                  <a:lnTo>
                    <a:pt x="1103948" y="40957"/>
                  </a:lnTo>
                  <a:lnTo>
                    <a:pt x="1103948" y="186690"/>
                  </a:lnTo>
                  <a:lnTo>
                    <a:pt x="1143953" y="186690"/>
                  </a:lnTo>
                  <a:lnTo>
                    <a:pt x="1143953" y="40957"/>
                  </a:lnTo>
                  <a:lnTo>
                    <a:pt x="1205865" y="40957"/>
                  </a:lnTo>
                  <a:lnTo>
                    <a:pt x="1205865" y="4763"/>
                  </a:lnTo>
                  <a:lnTo>
                    <a:pt x="1204913" y="4763"/>
                  </a:lnTo>
                  <a:close/>
                  <a:moveTo>
                    <a:pt x="365760" y="4763"/>
                  </a:moveTo>
                  <a:lnTo>
                    <a:pt x="202883" y="4763"/>
                  </a:lnTo>
                  <a:lnTo>
                    <a:pt x="202883" y="40957"/>
                  </a:lnTo>
                  <a:lnTo>
                    <a:pt x="264795" y="40957"/>
                  </a:lnTo>
                  <a:lnTo>
                    <a:pt x="264795" y="186690"/>
                  </a:lnTo>
                  <a:lnTo>
                    <a:pt x="303848" y="186690"/>
                  </a:lnTo>
                  <a:lnTo>
                    <a:pt x="303848" y="40957"/>
                  </a:lnTo>
                  <a:lnTo>
                    <a:pt x="365760" y="40957"/>
                  </a:lnTo>
                  <a:lnTo>
                    <a:pt x="365760" y="4763"/>
                  </a:lnTo>
                  <a:close/>
                  <a:moveTo>
                    <a:pt x="154305" y="96203"/>
                  </a:moveTo>
                  <a:cubicBezTo>
                    <a:pt x="154305" y="61913"/>
                    <a:pt x="130493" y="37147"/>
                    <a:pt x="97155" y="37147"/>
                  </a:cubicBezTo>
                  <a:cubicBezTo>
                    <a:pt x="63818" y="37147"/>
                    <a:pt x="40005" y="61913"/>
                    <a:pt x="40005" y="96203"/>
                  </a:cubicBezTo>
                  <a:cubicBezTo>
                    <a:pt x="40005" y="130492"/>
                    <a:pt x="63818" y="155258"/>
                    <a:pt x="97155" y="155258"/>
                  </a:cubicBezTo>
                  <a:cubicBezTo>
                    <a:pt x="129540" y="155258"/>
                    <a:pt x="154305" y="130492"/>
                    <a:pt x="154305" y="96203"/>
                  </a:cubicBezTo>
                  <a:close/>
                  <a:moveTo>
                    <a:pt x="0" y="96203"/>
                  </a:moveTo>
                  <a:cubicBezTo>
                    <a:pt x="0" y="41910"/>
                    <a:pt x="41910" y="952"/>
                    <a:pt x="98108" y="952"/>
                  </a:cubicBezTo>
                  <a:cubicBezTo>
                    <a:pt x="154305" y="952"/>
                    <a:pt x="196215" y="41910"/>
                    <a:pt x="196215" y="96203"/>
                  </a:cubicBezTo>
                  <a:cubicBezTo>
                    <a:pt x="196215" y="150495"/>
                    <a:pt x="154305" y="192405"/>
                    <a:pt x="98108" y="192405"/>
                  </a:cubicBezTo>
                  <a:cubicBezTo>
                    <a:pt x="41910" y="192405"/>
                    <a:pt x="0" y="150495"/>
                    <a:pt x="0" y="96203"/>
                  </a:cubicBezTo>
                  <a:close/>
                  <a:moveTo>
                    <a:pt x="1398270" y="4763"/>
                  </a:moveTo>
                  <a:lnTo>
                    <a:pt x="1398270" y="186690"/>
                  </a:lnTo>
                  <a:lnTo>
                    <a:pt x="1359218" y="186690"/>
                  </a:lnTo>
                  <a:lnTo>
                    <a:pt x="1359218" y="69532"/>
                  </a:lnTo>
                  <a:lnTo>
                    <a:pt x="1263968" y="186690"/>
                  </a:lnTo>
                  <a:lnTo>
                    <a:pt x="1232535" y="186690"/>
                  </a:lnTo>
                  <a:lnTo>
                    <a:pt x="1232535" y="4763"/>
                  </a:lnTo>
                  <a:lnTo>
                    <a:pt x="1271588" y="4763"/>
                  </a:lnTo>
                  <a:lnTo>
                    <a:pt x="1271588" y="121920"/>
                  </a:lnTo>
                  <a:lnTo>
                    <a:pt x="1366838" y="4763"/>
                  </a:lnTo>
                  <a:cubicBezTo>
                    <a:pt x="1366838" y="4763"/>
                    <a:pt x="1398270" y="4763"/>
                    <a:pt x="1398270" y="4763"/>
                  </a:cubicBezTo>
                  <a:close/>
                  <a:moveTo>
                    <a:pt x="1015365" y="186690"/>
                  </a:moveTo>
                  <a:lnTo>
                    <a:pt x="976313" y="186690"/>
                  </a:lnTo>
                  <a:lnTo>
                    <a:pt x="976313" y="4763"/>
                  </a:lnTo>
                  <a:lnTo>
                    <a:pt x="1015365" y="4763"/>
                  </a:lnTo>
                  <a:lnTo>
                    <a:pt x="1015365" y="186690"/>
                  </a:lnTo>
                  <a:close/>
                  <a:moveTo>
                    <a:pt x="913448" y="124778"/>
                  </a:moveTo>
                  <a:cubicBezTo>
                    <a:pt x="913448" y="108585"/>
                    <a:pt x="902018" y="97155"/>
                    <a:pt x="886778" y="97155"/>
                  </a:cubicBezTo>
                  <a:lnTo>
                    <a:pt x="846773" y="97155"/>
                  </a:lnTo>
                  <a:lnTo>
                    <a:pt x="846773" y="153353"/>
                  </a:lnTo>
                  <a:lnTo>
                    <a:pt x="886778" y="153353"/>
                  </a:lnTo>
                  <a:cubicBezTo>
                    <a:pt x="902018" y="153353"/>
                    <a:pt x="913448" y="140970"/>
                    <a:pt x="913448" y="124778"/>
                  </a:cubicBezTo>
                  <a:close/>
                  <a:moveTo>
                    <a:pt x="953453" y="124778"/>
                  </a:moveTo>
                  <a:cubicBezTo>
                    <a:pt x="953453" y="160973"/>
                    <a:pt x="926782" y="186690"/>
                    <a:pt x="888682" y="186690"/>
                  </a:cubicBezTo>
                  <a:lnTo>
                    <a:pt x="808673" y="186690"/>
                  </a:lnTo>
                  <a:lnTo>
                    <a:pt x="808673" y="4763"/>
                  </a:lnTo>
                  <a:lnTo>
                    <a:pt x="847725" y="4763"/>
                  </a:lnTo>
                  <a:lnTo>
                    <a:pt x="847725" y="63817"/>
                  </a:lnTo>
                  <a:lnTo>
                    <a:pt x="892493" y="63817"/>
                  </a:lnTo>
                  <a:cubicBezTo>
                    <a:pt x="929640" y="63817"/>
                    <a:pt x="953453" y="87630"/>
                    <a:pt x="953453" y="124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4" name="Google Shape;104;p1"/>
          <p:cNvGrpSpPr/>
          <p:nvPr/>
        </p:nvGrpSpPr>
        <p:grpSpPr>
          <a:xfrm>
            <a:off x="823295" y="1348066"/>
            <a:ext cx="2651425" cy="345863"/>
            <a:chOff x="7406975" y="5855999"/>
            <a:chExt cx="2270483" cy="296171"/>
          </a:xfrm>
        </p:grpSpPr>
        <p:sp>
          <p:nvSpPr>
            <p:cNvPr id="105" name="Google Shape;105;p1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106;p1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107;p1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108;p1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" name="Google Shape;109;p1"/>
          <p:cNvSpPr txBox="1"/>
          <p:nvPr/>
        </p:nvSpPr>
        <p:spPr>
          <a:xfrm>
            <a:off x="723776" y="2495424"/>
            <a:ext cx="7563300" cy="175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5400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10 лет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5400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с «Единым клиентом»</a:t>
            </a:r>
            <a:endParaRPr/>
          </a:p>
        </p:txBody>
      </p:sp>
      <p:grpSp>
        <p:nvGrpSpPr>
          <p:cNvPr id="110" name="Google Shape;110;p1"/>
          <p:cNvGrpSpPr/>
          <p:nvPr/>
        </p:nvGrpSpPr>
        <p:grpSpPr>
          <a:xfrm>
            <a:off x="823295" y="5509934"/>
            <a:ext cx="3202071" cy="762000"/>
            <a:chOff x="1217541" y="5509934"/>
            <a:chExt cx="3202071" cy="762000"/>
          </a:xfrm>
        </p:grpSpPr>
        <p:grpSp>
          <p:nvGrpSpPr>
            <p:cNvPr id="111" name="Google Shape;111;p1"/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12" name="Google Shape;112;p1"/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14901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13" name="Google Shape;113;p1"/>
              <p:cNvSpPr txBox="1"/>
              <p:nvPr/>
            </p:nvSpPr>
            <p:spPr>
              <a:xfrm>
                <a:off x="1307014" y="1628386"/>
                <a:ext cx="1931400" cy="184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200" b="0" u="none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rPr>
                  <a:t>Иван З</a:t>
                </a:r>
                <a:r>
                  <a:rPr lang="ru-RU" sz="1200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rPr>
                  <a:t>и</a:t>
                </a:r>
                <a:r>
                  <a:rPr lang="ru-RU" sz="1200" b="0" u="none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rPr>
                  <a:t>пухо</a:t>
                </a:r>
                <a:endParaRPr sz="1200" b="0" u="none">
                  <a:solidFill>
                    <a:srgbClr val="00BEF0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14" name="Google Shape;114;p1"/>
              <p:cNvSpPr txBox="1"/>
              <p:nvPr/>
            </p:nvSpPr>
            <p:spPr>
              <a:xfrm>
                <a:off x="1307013" y="1846918"/>
                <a:ext cx="2169000" cy="287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 b="0" u="none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Архитектор DWH и MDM, </a:t>
                </a:r>
                <a:br>
                  <a:rPr lang="ru-RU" sz="1100" b="0" u="none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</a:b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банк </a:t>
                </a:r>
                <a:r>
                  <a:rPr lang="ru-RU" sz="1100" b="0" u="none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«</a:t>
                </a: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Открытие»</a:t>
                </a:r>
                <a:endParaRPr sz="1100" b="0" u="none">
                  <a:solidFill>
                    <a:schemeClr val="dk1"/>
                  </a:solidFill>
                  <a:latin typeface="Roboto Light"/>
                  <a:ea typeface="Roboto Light"/>
                  <a:cs typeface="Roboto Light"/>
                  <a:sym typeface="Roboto Light"/>
                </a:endParaRPr>
              </a:p>
            </p:txBody>
          </p:sp>
        </p:grpSp>
        <p:pic>
          <p:nvPicPr>
            <p:cNvPr id="115" name="Google Shape;115;p1"/>
            <p:cNvPicPr preferRelativeResize="0"/>
            <p:nvPr/>
          </p:nvPicPr>
          <p:blipFill rotWithShape="1">
            <a:blip r:embed="rId4">
              <a:alphaModFix/>
            </a:blip>
            <a:srcRect t="58" b="57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/>
              <a:ahLst/>
              <a:cxnLst/>
              <a:rect l="l" t="t" r="r" b="b"/>
              <a:pathLst>
                <a:path w="571500" h="571500" extrusionOk="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  <p:grpSp>
        <p:nvGrpSpPr>
          <p:cNvPr id="116" name="Google Shape;116;p1"/>
          <p:cNvGrpSpPr/>
          <p:nvPr/>
        </p:nvGrpSpPr>
        <p:grpSpPr>
          <a:xfrm>
            <a:off x="4375069" y="5509934"/>
            <a:ext cx="3202071" cy="762000"/>
            <a:chOff x="1217541" y="5509934"/>
            <a:chExt cx="3202071" cy="762000"/>
          </a:xfrm>
        </p:grpSpPr>
        <p:grpSp>
          <p:nvGrpSpPr>
            <p:cNvPr id="117" name="Google Shape;117;p1"/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18" name="Google Shape;118;p1"/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14901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19" name="Google Shape;119;p1"/>
              <p:cNvSpPr txBox="1"/>
              <p:nvPr/>
            </p:nvSpPr>
            <p:spPr>
              <a:xfrm>
                <a:off x="1307014" y="1586928"/>
                <a:ext cx="1931448" cy="2185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200" b="0" u="none">
                    <a:solidFill>
                      <a:schemeClr val="lt2"/>
                    </a:solidFill>
                    <a:latin typeface="Roboto"/>
                    <a:ea typeface="Roboto"/>
                    <a:cs typeface="Roboto"/>
                    <a:sym typeface="Roboto"/>
                  </a:rPr>
                  <a:t>Ника Суслова</a:t>
                </a:r>
                <a:endParaRPr/>
              </a:p>
            </p:txBody>
          </p:sp>
          <p:sp>
            <p:nvSpPr>
              <p:cNvPr id="120" name="Google Shape;120;p1"/>
              <p:cNvSpPr txBox="1"/>
              <p:nvPr/>
            </p:nvSpPr>
            <p:spPr>
              <a:xfrm>
                <a:off x="1307014" y="1830776"/>
                <a:ext cx="2133366" cy="2877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 b="0" u="none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Директор по банковской практике, HFLabs</a:t>
                </a:r>
                <a:endParaRPr/>
              </a:p>
            </p:txBody>
          </p:sp>
        </p:grpSp>
        <p:pic>
          <p:nvPicPr>
            <p:cNvPr id="121" name="Google Shape;121;p1"/>
            <p:cNvPicPr preferRelativeResize="0"/>
            <p:nvPr/>
          </p:nvPicPr>
          <p:blipFill rotWithShape="1">
            <a:blip r:embed="rId5">
              <a:alphaModFix/>
            </a:blip>
            <a:srcRect l="196" t="1" r="12527" b="43392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/>
              <a:ahLst/>
              <a:cxnLst/>
              <a:rect l="l" t="t" r="r" b="b"/>
              <a:pathLst>
                <a:path w="571500" h="571500" extrusionOk="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" name="Google Shape;595;p10"/>
          <p:cNvSpPr/>
          <p:nvPr/>
        </p:nvSpPr>
        <p:spPr>
          <a:xfrm>
            <a:off x="5932" y="2698938"/>
            <a:ext cx="12192000" cy="2083802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600" name="Google Shape;600;p10"/>
          <p:cNvGrpSpPr/>
          <p:nvPr/>
        </p:nvGrpSpPr>
        <p:grpSpPr>
          <a:xfrm>
            <a:off x="484439" y="2220276"/>
            <a:ext cx="2808945" cy="2830100"/>
            <a:chOff x="3803461" y="1446918"/>
            <a:chExt cx="4585078" cy="4619610"/>
          </a:xfrm>
        </p:grpSpPr>
        <p:sp>
          <p:nvSpPr>
            <p:cNvPr id="601" name="Google Shape;601;p10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rPr>
                <a:t>ВЫСТРОИЛИДОВЕРЕННЫЙОБРАТНЫЙПОТОК</a:t>
              </a: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02" name="Google Shape;602;p10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редитные конвейеры</a:t>
              </a:r>
              <a:endParaRPr/>
            </a:p>
          </p:txBody>
        </p:sp>
        <p:pic>
          <p:nvPicPr>
            <p:cNvPr id="603" name="Google Shape;603;p10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041361" y="2493471"/>
              <a:ext cx="3790004" cy="288253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04" name="Google Shape;604;p10"/>
          <p:cNvGrpSpPr/>
          <p:nvPr/>
        </p:nvGrpSpPr>
        <p:grpSpPr>
          <a:xfrm>
            <a:off x="3803461" y="1446918"/>
            <a:ext cx="4585078" cy="4619610"/>
            <a:chOff x="3803461" y="1446918"/>
            <a:chExt cx="4585078" cy="4619610"/>
          </a:xfrm>
        </p:grpSpPr>
        <p:sp>
          <p:nvSpPr>
            <p:cNvPr id="605" name="Google Shape;605;p10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06" name="Google Shape;606;p10"/>
            <p:cNvSpPr txBox="1"/>
            <p:nvPr/>
          </p:nvSpPr>
          <p:spPr>
            <a:xfrm>
              <a:off x="4161194" y="1780171"/>
              <a:ext cx="3869612" cy="364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0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заимодействие с ФОИВ</a:t>
              </a:r>
              <a:endParaRPr/>
            </a:p>
          </p:txBody>
        </p:sp>
        <p:pic>
          <p:nvPicPr>
            <p:cNvPr id="607" name="Google Shape;607;p1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358510" y="2477626"/>
              <a:ext cx="3474980" cy="288713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08" name="Google Shape;608;p10"/>
          <p:cNvGrpSpPr/>
          <p:nvPr/>
        </p:nvGrpSpPr>
        <p:grpSpPr>
          <a:xfrm>
            <a:off x="8898617" y="2223235"/>
            <a:ext cx="2808944" cy="2830100"/>
            <a:chOff x="3803461" y="1446918"/>
            <a:chExt cx="4585078" cy="4619610"/>
          </a:xfrm>
        </p:grpSpPr>
        <p:sp>
          <p:nvSpPr>
            <p:cNvPr id="609" name="Google Shape;609;p10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10" name="Google Shape;610;p10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Обработка СБП</a:t>
              </a:r>
              <a:endParaRPr/>
            </a:p>
          </p:txBody>
        </p:sp>
        <p:pic>
          <p:nvPicPr>
            <p:cNvPr id="611" name="Google Shape;611;p1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377267" y="2332567"/>
              <a:ext cx="3437466" cy="343746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12" name="Google Shape;612;p10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613" name="Google Shape;613;p10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4" name="Google Shape;614;p10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5" name="Google Shape;615;p10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6" name="Google Shape;616;p10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17" name="Google Shape;617;p1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618" name="Google Shape;618;p10"/>
          <p:cNvSpPr txBox="1"/>
          <p:nvPr/>
        </p:nvSpPr>
        <p:spPr>
          <a:xfrm>
            <a:off x="630183" y="376044"/>
            <a:ext cx="892744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Другие сценарии использования</a:t>
            </a:r>
            <a:endParaRPr/>
          </a:p>
        </p:txBody>
      </p:sp>
      <p:grpSp>
        <p:nvGrpSpPr>
          <p:cNvPr id="26" name="Google Shape;528;p8">
            <a:extLst>
              <a:ext uri="{FF2B5EF4-FFF2-40B4-BE49-F238E27FC236}">
                <a16:creationId xmlns:a16="http://schemas.microsoft.com/office/drawing/2014/main" id="{B18B5595-CF23-42E2-A233-D3E795DD6D12}"/>
              </a:ext>
            </a:extLst>
          </p:cNvPr>
          <p:cNvGrpSpPr/>
          <p:nvPr/>
        </p:nvGrpSpPr>
        <p:grpSpPr>
          <a:xfrm>
            <a:off x="-3561450" y="2223235"/>
            <a:ext cx="2808945" cy="2830100"/>
            <a:chOff x="3803461" y="1446918"/>
            <a:chExt cx="4585078" cy="4619610"/>
          </a:xfrm>
        </p:grpSpPr>
        <p:sp>
          <p:nvSpPr>
            <p:cNvPr id="27" name="Google Shape;529;p8">
              <a:extLst>
                <a:ext uri="{FF2B5EF4-FFF2-40B4-BE49-F238E27FC236}">
                  <a16:creationId xmlns:a16="http://schemas.microsoft.com/office/drawing/2014/main" id="{004F940C-65C8-4C7E-A668-3A508D8898DD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28" name="Google Shape;530;p8">
              <a:extLst>
                <a:ext uri="{FF2B5EF4-FFF2-40B4-BE49-F238E27FC236}">
                  <a16:creationId xmlns:a16="http://schemas.microsoft.com/office/drawing/2014/main" id="{F6635483-DECB-415C-B39B-F008763D171F}"/>
                </a:ext>
              </a:extLst>
            </p:cNvPr>
            <p:cNvSpPr txBox="1"/>
            <p:nvPr/>
          </p:nvSpPr>
          <p:spPr>
            <a:xfrm>
              <a:off x="5227076" y="1754323"/>
              <a:ext cx="1737847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олл-центр</a:t>
              </a:r>
              <a:endParaRPr/>
            </a:p>
          </p:txBody>
        </p:sp>
        <p:pic>
          <p:nvPicPr>
            <p:cNvPr id="29" name="Google Shape;531;p8">
              <a:extLst>
                <a:ext uri="{FF2B5EF4-FFF2-40B4-BE49-F238E27FC236}">
                  <a16:creationId xmlns:a16="http://schemas.microsoft.com/office/drawing/2014/main" id="{AB6F7491-21B0-4E67-BA6B-5B2CC2A6A131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315145" y="2349501"/>
              <a:ext cx="3561707" cy="330200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1"/>
          <p:cNvSpPr/>
          <p:nvPr/>
        </p:nvSpPr>
        <p:spPr>
          <a:xfrm>
            <a:off x="5932" y="2698938"/>
            <a:ext cx="12192000" cy="2083802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624" name="Google Shape;624;p11"/>
          <p:cNvGrpSpPr/>
          <p:nvPr/>
        </p:nvGrpSpPr>
        <p:grpSpPr>
          <a:xfrm>
            <a:off x="-3837304" y="2220276"/>
            <a:ext cx="2808945" cy="2830100"/>
            <a:chOff x="3803461" y="1446918"/>
            <a:chExt cx="4585078" cy="4619610"/>
          </a:xfrm>
        </p:grpSpPr>
        <p:sp>
          <p:nvSpPr>
            <p:cNvPr id="625" name="Google Shape;625;p11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rPr>
                <a:t>ВЫСТРОИЛИДОВЕРЕННЫЙОБРАТНЫЙПОТОК</a:t>
              </a: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26" name="Google Shape;626;p11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редитные конвейеры</a:t>
              </a:r>
              <a:endParaRPr/>
            </a:p>
          </p:txBody>
        </p:sp>
        <p:pic>
          <p:nvPicPr>
            <p:cNvPr id="627" name="Google Shape;627;p1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114296" y="2493471"/>
              <a:ext cx="3790004" cy="288253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28" name="Google Shape;628;p11"/>
          <p:cNvGrpSpPr/>
          <p:nvPr/>
        </p:nvGrpSpPr>
        <p:grpSpPr>
          <a:xfrm>
            <a:off x="484439" y="2220276"/>
            <a:ext cx="2808945" cy="2830100"/>
            <a:chOff x="3803461" y="1446918"/>
            <a:chExt cx="4585078" cy="4619610"/>
          </a:xfrm>
        </p:grpSpPr>
        <p:sp>
          <p:nvSpPr>
            <p:cNvPr id="629" name="Google Shape;629;p11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30" name="Google Shape;630;p11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заимодействие с ФОИВ</a:t>
              </a:r>
              <a:endParaRPr/>
            </a:p>
          </p:txBody>
        </p:sp>
        <p:pic>
          <p:nvPicPr>
            <p:cNvPr id="631" name="Google Shape;631;p1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358510" y="2477626"/>
              <a:ext cx="3474980" cy="288713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32" name="Google Shape;632;p11"/>
          <p:cNvGrpSpPr/>
          <p:nvPr/>
        </p:nvGrpSpPr>
        <p:grpSpPr>
          <a:xfrm>
            <a:off x="3803461" y="1446918"/>
            <a:ext cx="4585078" cy="4619610"/>
            <a:chOff x="3803461" y="1446918"/>
            <a:chExt cx="4585078" cy="4619610"/>
          </a:xfrm>
        </p:grpSpPr>
        <p:sp>
          <p:nvSpPr>
            <p:cNvPr id="633" name="Google Shape;633;p11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34" name="Google Shape;634;p11"/>
            <p:cNvSpPr txBox="1"/>
            <p:nvPr/>
          </p:nvSpPr>
          <p:spPr>
            <a:xfrm>
              <a:off x="4161194" y="1780171"/>
              <a:ext cx="3869612" cy="364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0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Обработка СБП</a:t>
              </a:r>
              <a:endParaRPr/>
            </a:p>
          </p:txBody>
        </p:sp>
        <p:pic>
          <p:nvPicPr>
            <p:cNvPr id="635" name="Google Shape;635;p1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377267" y="2332567"/>
              <a:ext cx="3437466" cy="343746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36" name="Google Shape;636;p11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637" name="Google Shape;637;p11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8" name="Google Shape;638;p11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9" name="Google Shape;639;p11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0" name="Google Shape;640;p11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41" name="Google Shape;641;p1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642" name="Google Shape;642;p11"/>
          <p:cNvSpPr txBox="1"/>
          <p:nvPr/>
        </p:nvSpPr>
        <p:spPr>
          <a:xfrm>
            <a:off x="630183" y="376044"/>
            <a:ext cx="892744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Другие сценарии использования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" name="Google Shape;647;p12"/>
          <p:cNvSpPr/>
          <p:nvPr/>
        </p:nvSpPr>
        <p:spPr>
          <a:xfrm>
            <a:off x="6659880" y="2464158"/>
            <a:ext cx="5532120" cy="2333874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648" name="Google Shape;648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0822" y="1495677"/>
            <a:ext cx="4288338" cy="426767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49" name="Google Shape;649;p12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650" name="Google Shape;650;p12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1" name="Google Shape;651;p12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2" name="Google Shape;652;p12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3" name="Google Shape;653;p12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4" name="Google Shape;654;p1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655" name="Google Shape;655;p12"/>
          <p:cNvSpPr txBox="1"/>
          <p:nvPr/>
        </p:nvSpPr>
        <p:spPr>
          <a:xfrm>
            <a:off x="630183" y="376044"/>
            <a:ext cx="3312125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Отчётность</a:t>
            </a:r>
            <a:endParaRPr/>
          </a:p>
        </p:txBody>
      </p:sp>
      <p:grpSp>
        <p:nvGrpSpPr>
          <p:cNvPr id="656" name="Google Shape;656;p12"/>
          <p:cNvGrpSpPr/>
          <p:nvPr/>
        </p:nvGrpSpPr>
        <p:grpSpPr>
          <a:xfrm>
            <a:off x="6366346" y="2147479"/>
            <a:ext cx="5051622" cy="847113"/>
            <a:chOff x="6366346" y="1556711"/>
            <a:chExt cx="5051622" cy="847113"/>
          </a:xfrm>
        </p:grpSpPr>
        <p:sp>
          <p:nvSpPr>
            <p:cNvPr id="657" name="Google Shape;657;p12"/>
            <p:cNvSpPr/>
            <p:nvPr/>
          </p:nvSpPr>
          <p:spPr>
            <a:xfrm>
              <a:off x="6366346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58" name="Google Shape;658;p12"/>
            <p:cNvSpPr txBox="1"/>
            <p:nvPr/>
          </p:nvSpPr>
          <p:spPr>
            <a:xfrm>
              <a:off x="7290708" y="1842208"/>
              <a:ext cx="3691500" cy="215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Регуляторная отчётность</a:t>
              </a:r>
              <a:endParaRPr/>
            </a:p>
          </p:txBody>
        </p:sp>
        <p:sp>
          <p:nvSpPr>
            <p:cNvPr id="659" name="Google Shape;659;p12"/>
            <p:cNvSpPr/>
            <p:nvPr/>
          </p:nvSpPr>
          <p:spPr>
            <a:xfrm>
              <a:off x="6492530" y="1662600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660" name="Google Shape;660;p1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614257" y="1802697"/>
              <a:ext cx="391879" cy="35514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61" name="Google Shape;661;p12"/>
          <p:cNvGrpSpPr/>
          <p:nvPr/>
        </p:nvGrpSpPr>
        <p:grpSpPr>
          <a:xfrm>
            <a:off x="6366346" y="3118246"/>
            <a:ext cx="5051622" cy="847113"/>
            <a:chOff x="6366346" y="2573009"/>
            <a:chExt cx="5051622" cy="847113"/>
          </a:xfrm>
        </p:grpSpPr>
        <p:sp>
          <p:nvSpPr>
            <p:cNvPr id="662" name="Google Shape;662;p12"/>
            <p:cNvSpPr/>
            <p:nvPr/>
          </p:nvSpPr>
          <p:spPr>
            <a:xfrm>
              <a:off x="6366346" y="2573009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63" name="Google Shape;663;p12"/>
            <p:cNvSpPr txBox="1"/>
            <p:nvPr/>
          </p:nvSpPr>
          <p:spPr>
            <a:xfrm>
              <a:off x="7290710" y="2858505"/>
              <a:ext cx="3229500" cy="215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Бизнес</a:t>
              </a:r>
              <a:r>
                <a:rPr lang="ru-RU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-</a:t>
              </a: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отчётность</a:t>
              </a:r>
              <a:endParaRPr/>
            </a:p>
          </p:txBody>
        </p:sp>
        <p:sp>
          <p:nvSpPr>
            <p:cNvPr id="664" name="Google Shape;664;p12"/>
            <p:cNvSpPr/>
            <p:nvPr/>
          </p:nvSpPr>
          <p:spPr>
            <a:xfrm>
              <a:off x="6492530" y="2678898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665" name="Google Shape;665;p12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6614257" y="2818671"/>
              <a:ext cx="380324" cy="3557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66" name="Google Shape;666;p12"/>
          <p:cNvGrpSpPr/>
          <p:nvPr/>
        </p:nvGrpSpPr>
        <p:grpSpPr>
          <a:xfrm>
            <a:off x="6366346" y="4089013"/>
            <a:ext cx="5051622" cy="847113"/>
            <a:chOff x="6366346" y="4689563"/>
            <a:chExt cx="5051622" cy="847113"/>
          </a:xfrm>
        </p:grpSpPr>
        <p:sp>
          <p:nvSpPr>
            <p:cNvPr id="667" name="Google Shape;667;p12"/>
            <p:cNvSpPr/>
            <p:nvPr/>
          </p:nvSpPr>
          <p:spPr>
            <a:xfrm>
              <a:off x="6366346" y="468956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68" name="Google Shape;668;p12"/>
            <p:cNvSpPr txBox="1"/>
            <p:nvPr/>
          </p:nvSpPr>
          <p:spPr>
            <a:xfrm>
              <a:off x="7290710" y="4975060"/>
              <a:ext cx="3229618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БКИ и адреса</a:t>
              </a:r>
              <a:endParaRPr/>
            </a:p>
          </p:txBody>
        </p:sp>
        <p:sp>
          <p:nvSpPr>
            <p:cNvPr id="669" name="Google Shape;669;p12"/>
            <p:cNvSpPr/>
            <p:nvPr/>
          </p:nvSpPr>
          <p:spPr>
            <a:xfrm>
              <a:off x="6492530" y="4795452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670" name="Google Shape;670;p12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659880" y="4937261"/>
              <a:ext cx="289078" cy="361348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6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Google Shape;675;p13"/>
          <p:cNvSpPr/>
          <p:nvPr/>
        </p:nvSpPr>
        <p:spPr>
          <a:xfrm>
            <a:off x="14711" y="3035320"/>
            <a:ext cx="5484942" cy="1671334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676" name="Google Shape;676;p13"/>
          <p:cNvPicPr preferRelativeResize="0"/>
          <p:nvPr/>
        </p:nvPicPr>
        <p:blipFill rotWithShape="1">
          <a:blip r:embed="rId3">
            <a:alphaModFix/>
          </a:blip>
          <a:srcRect t="1079" b="1079"/>
          <a:stretch/>
        </p:blipFill>
        <p:spPr>
          <a:xfrm>
            <a:off x="6614161" y="753105"/>
            <a:ext cx="4947656" cy="503239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77" name="Google Shape;677;p13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678" name="Google Shape;678;p13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" name="Google Shape;679;p13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0" name="Google Shape;680;p13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1" name="Google Shape;681;p13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82" name="Google Shape;682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683" name="Google Shape;683;p13"/>
          <p:cNvSpPr txBox="1"/>
          <p:nvPr/>
        </p:nvSpPr>
        <p:spPr>
          <a:xfrm>
            <a:off x="630184" y="376044"/>
            <a:ext cx="6189240" cy="2123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А что про качественное качество?</a:t>
            </a:r>
            <a:endParaRPr/>
          </a:p>
        </p:txBody>
      </p:sp>
      <p:grpSp>
        <p:nvGrpSpPr>
          <p:cNvPr id="684" name="Google Shape;684;p13"/>
          <p:cNvGrpSpPr/>
          <p:nvPr/>
        </p:nvGrpSpPr>
        <p:grpSpPr>
          <a:xfrm>
            <a:off x="630183" y="2882920"/>
            <a:ext cx="5051622" cy="847113"/>
            <a:chOff x="630183" y="2161919"/>
            <a:chExt cx="5051622" cy="847113"/>
          </a:xfrm>
        </p:grpSpPr>
        <p:sp>
          <p:nvSpPr>
            <p:cNvPr id="685" name="Google Shape;685;p13"/>
            <p:cNvSpPr/>
            <p:nvPr/>
          </p:nvSpPr>
          <p:spPr>
            <a:xfrm>
              <a:off x="630183" y="2161919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86" name="Google Shape;686;p13"/>
            <p:cNvSpPr txBox="1"/>
            <p:nvPr/>
          </p:nvSpPr>
          <p:spPr>
            <a:xfrm>
              <a:off x="1554545" y="2447414"/>
              <a:ext cx="3812583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1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сегда</a:t>
              </a: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 требует ручного вмешательства</a:t>
              </a:r>
              <a:endParaRPr/>
            </a:p>
          </p:txBody>
        </p:sp>
        <p:sp>
          <p:nvSpPr>
            <p:cNvPr id="687" name="Google Shape;687;p13"/>
            <p:cNvSpPr/>
            <p:nvPr/>
          </p:nvSpPr>
          <p:spPr>
            <a:xfrm>
              <a:off x="756367" y="2267808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688" name="Google Shape;688;p1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928928" y="2484483"/>
              <a:ext cx="290209" cy="1934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689" name="Google Shape;689;p13"/>
          <p:cNvGrpSpPr/>
          <p:nvPr/>
        </p:nvGrpSpPr>
        <p:grpSpPr>
          <a:xfrm>
            <a:off x="630183" y="3945190"/>
            <a:ext cx="5051622" cy="847113"/>
            <a:chOff x="630183" y="3220005"/>
            <a:chExt cx="5051622" cy="847113"/>
          </a:xfrm>
        </p:grpSpPr>
        <p:sp>
          <p:nvSpPr>
            <p:cNvPr id="690" name="Google Shape;690;p13"/>
            <p:cNvSpPr/>
            <p:nvPr/>
          </p:nvSpPr>
          <p:spPr>
            <a:xfrm>
              <a:off x="630183" y="3220005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91" name="Google Shape;691;p13"/>
            <p:cNvSpPr txBox="1"/>
            <p:nvPr/>
          </p:nvSpPr>
          <p:spPr>
            <a:xfrm>
              <a:off x="1554547" y="3505500"/>
              <a:ext cx="3918601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И это </a:t>
              </a:r>
              <a:r>
                <a:rPr lang="ru-RU" sz="1400" b="1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сегда</a:t>
              </a: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 больно, сложно, дорого и лениво</a:t>
              </a:r>
              <a:endParaRPr/>
            </a:p>
          </p:txBody>
        </p:sp>
        <p:sp>
          <p:nvSpPr>
            <p:cNvPr id="692" name="Google Shape;692;p13"/>
            <p:cNvSpPr/>
            <p:nvPr/>
          </p:nvSpPr>
          <p:spPr>
            <a:xfrm>
              <a:off x="756367" y="3325894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693" name="Google Shape;693;p13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915624" y="3474785"/>
              <a:ext cx="326310" cy="32631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p14"/>
          <p:cNvSpPr/>
          <p:nvPr/>
        </p:nvSpPr>
        <p:spPr>
          <a:xfrm>
            <a:off x="-3087" y="2010731"/>
            <a:ext cx="5167166" cy="3492567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699" name="Google Shape;699;p14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700" name="Google Shape;700;p14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1" name="Google Shape;701;p14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2" name="Google Shape;702;p14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3" name="Google Shape;703;p14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704" name="Google Shape;70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705" name="Google Shape;705;p14"/>
          <p:cNvSpPr txBox="1"/>
          <p:nvPr/>
        </p:nvSpPr>
        <p:spPr>
          <a:xfrm>
            <a:off x="630183" y="226653"/>
            <a:ext cx="7414200" cy="132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0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Святые люди дата-стюарды и улучшение качества</a:t>
            </a:r>
            <a:endParaRPr/>
          </a:p>
        </p:txBody>
      </p:sp>
      <p:grpSp>
        <p:nvGrpSpPr>
          <p:cNvPr id="706" name="Google Shape;706;p14"/>
          <p:cNvGrpSpPr/>
          <p:nvPr/>
        </p:nvGrpSpPr>
        <p:grpSpPr>
          <a:xfrm>
            <a:off x="454320" y="1847310"/>
            <a:ext cx="5051622" cy="633216"/>
            <a:chOff x="6366346" y="1556712"/>
            <a:chExt cx="5051622" cy="633216"/>
          </a:xfrm>
        </p:grpSpPr>
        <p:sp>
          <p:nvSpPr>
            <p:cNvPr id="707" name="Google Shape;707;p14"/>
            <p:cNvSpPr/>
            <p:nvPr/>
          </p:nvSpPr>
          <p:spPr>
            <a:xfrm>
              <a:off x="6366346" y="1556712"/>
              <a:ext cx="5051622" cy="633216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08" name="Google Shape;708;p14"/>
            <p:cNvSpPr txBox="1"/>
            <p:nvPr/>
          </p:nvSpPr>
          <p:spPr>
            <a:xfrm>
              <a:off x="7155043" y="1719518"/>
              <a:ext cx="3691421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Сокращаем серую зону </a:t>
              </a:r>
              <a:endParaRPr/>
            </a:p>
          </p:txBody>
        </p:sp>
        <p:sp>
          <p:nvSpPr>
            <p:cNvPr id="709" name="Google Shape;709;p14"/>
            <p:cNvSpPr/>
            <p:nvPr/>
          </p:nvSpPr>
          <p:spPr>
            <a:xfrm>
              <a:off x="6492531" y="1662601"/>
              <a:ext cx="456428" cy="456428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710" name="Google Shape;710;p1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6593177" y="1757582"/>
              <a:ext cx="255135" cy="2551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11" name="Google Shape;711;p14"/>
          <p:cNvGrpSpPr/>
          <p:nvPr/>
        </p:nvGrpSpPr>
        <p:grpSpPr>
          <a:xfrm>
            <a:off x="454320" y="2654958"/>
            <a:ext cx="5051622" cy="633216"/>
            <a:chOff x="6366346" y="1556712"/>
            <a:chExt cx="5051622" cy="633216"/>
          </a:xfrm>
        </p:grpSpPr>
        <p:sp>
          <p:nvSpPr>
            <p:cNvPr id="712" name="Google Shape;712;p14"/>
            <p:cNvSpPr/>
            <p:nvPr/>
          </p:nvSpPr>
          <p:spPr>
            <a:xfrm>
              <a:off x="6366346" y="1556712"/>
              <a:ext cx="5051622" cy="633216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13" name="Google Shape;713;p14"/>
            <p:cNvSpPr txBox="1"/>
            <p:nvPr/>
          </p:nvSpPr>
          <p:spPr>
            <a:xfrm>
              <a:off x="7155043" y="1719518"/>
              <a:ext cx="3691421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Задание для ДС на приоритетный разбор</a:t>
              </a:r>
              <a:endParaRPr/>
            </a:p>
          </p:txBody>
        </p:sp>
        <p:sp>
          <p:nvSpPr>
            <p:cNvPr id="714" name="Google Shape;714;p14"/>
            <p:cNvSpPr/>
            <p:nvPr/>
          </p:nvSpPr>
          <p:spPr>
            <a:xfrm>
              <a:off x="6492531" y="1662601"/>
              <a:ext cx="456428" cy="456428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715" name="Google Shape;715;p14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602627" y="1757582"/>
              <a:ext cx="236236" cy="2551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16" name="Google Shape;716;p14"/>
          <p:cNvGrpSpPr/>
          <p:nvPr/>
        </p:nvGrpSpPr>
        <p:grpSpPr>
          <a:xfrm>
            <a:off x="454320" y="3462606"/>
            <a:ext cx="5051622" cy="633216"/>
            <a:chOff x="6366346" y="1556712"/>
            <a:chExt cx="5051622" cy="633216"/>
          </a:xfrm>
        </p:grpSpPr>
        <p:sp>
          <p:nvSpPr>
            <p:cNvPr id="717" name="Google Shape;717;p14"/>
            <p:cNvSpPr/>
            <p:nvPr/>
          </p:nvSpPr>
          <p:spPr>
            <a:xfrm>
              <a:off x="6366346" y="1556712"/>
              <a:ext cx="5051622" cy="633216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18" name="Google Shape;718;p14"/>
            <p:cNvSpPr txBox="1"/>
            <p:nvPr/>
          </p:nvSpPr>
          <p:spPr>
            <a:xfrm>
              <a:off x="7155043" y="1579480"/>
              <a:ext cx="4262925" cy="5350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ридумали антидубликаты и популярность. Сократили серую зону за год на 13% </a:t>
              </a:r>
              <a:endParaRPr/>
            </a:p>
          </p:txBody>
        </p:sp>
        <p:sp>
          <p:nvSpPr>
            <p:cNvPr id="719" name="Google Shape;719;p14"/>
            <p:cNvSpPr/>
            <p:nvPr/>
          </p:nvSpPr>
          <p:spPr>
            <a:xfrm>
              <a:off x="6492531" y="1662601"/>
              <a:ext cx="456428" cy="456428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720" name="Google Shape;720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6587081" y="1763678"/>
              <a:ext cx="255135" cy="25513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21" name="Google Shape;721;p14"/>
          <p:cNvGrpSpPr/>
          <p:nvPr/>
        </p:nvGrpSpPr>
        <p:grpSpPr>
          <a:xfrm>
            <a:off x="454320" y="4270254"/>
            <a:ext cx="5051622" cy="633216"/>
            <a:chOff x="6366346" y="1556712"/>
            <a:chExt cx="5051622" cy="633216"/>
          </a:xfrm>
        </p:grpSpPr>
        <p:sp>
          <p:nvSpPr>
            <p:cNvPr id="722" name="Google Shape;722;p14"/>
            <p:cNvSpPr/>
            <p:nvPr/>
          </p:nvSpPr>
          <p:spPr>
            <a:xfrm>
              <a:off x="6366346" y="1556712"/>
              <a:ext cx="5051622" cy="633216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23" name="Google Shape;723;p14"/>
            <p:cNvSpPr txBox="1"/>
            <p:nvPr/>
          </p:nvSpPr>
          <p:spPr>
            <a:xfrm>
              <a:off x="7155044" y="1579480"/>
              <a:ext cx="2763000" cy="495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ровер</a:t>
              </a:r>
              <a:r>
                <a:rPr lang="ru-RU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и</a:t>
              </a: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ли кучу гипотез вплоть до сканирования документов</a:t>
              </a:r>
              <a:endParaRPr/>
            </a:p>
          </p:txBody>
        </p:sp>
        <p:sp>
          <p:nvSpPr>
            <p:cNvPr id="724" name="Google Shape;724;p14"/>
            <p:cNvSpPr/>
            <p:nvPr/>
          </p:nvSpPr>
          <p:spPr>
            <a:xfrm>
              <a:off x="6492531" y="1662601"/>
              <a:ext cx="456428" cy="456428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25" name="Google Shape;725;p14"/>
            <p:cNvSpPr/>
            <p:nvPr/>
          </p:nvSpPr>
          <p:spPr>
            <a:xfrm>
              <a:off x="6625940" y="1763485"/>
              <a:ext cx="189605" cy="243328"/>
            </a:xfrm>
            <a:custGeom>
              <a:avLst/>
              <a:gdLst/>
              <a:ahLst/>
              <a:cxnLst/>
              <a:rect l="l" t="t" r="r" b="b"/>
              <a:pathLst>
                <a:path w="189605" h="243328" extrusionOk="0">
                  <a:moveTo>
                    <a:pt x="54199" y="189255"/>
                  </a:moveTo>
                  <a:lnTo>
                    <a:pt x="135408" y="189255"/>
                  </a:lnTo>
                  <a:moveTo>
                    <a:pt x="54199" y="148701"/>
                  </a:moveTo>
                  <a:lnTo>
                    <a:pt x="135408" y="148701"/>
                  </a:lnTo>
                  <a:moveTo>
                    <a:pt x="108338" y="0"/>
                  </a:moveTo>
                  <a:cubicBezTo>
                    <a:pt x="107038" y="0"/>
                    <a:pt x="105619" y="0"/>
                    <a:pt x="103905" y="0"/>
                  </a:cubicBezTo>
                  <a:lnTo>
                    <a:pt x="43323" y="0"/>
                  </a:lnTo>
                  <a:cubicBezTo>
                    <a:pt x="28134" y="0"/>
                    <a:pt x="20568" y="0"/>
                    <a:pt x="14776" y="2952"/>
                  </a:cubicBezTo>
                  <a:cubicBezTo>
                    <a:pt x="9693" y="5549"/>
                    <a:pt x="5556" y="9681"/>
                    <a:pt x="2955" y="14758"/>
                  </a:cubicBezTo>
                  <a:cubicBezTo>
                    <a:pt x="0" y="20543"/>
                    <a:pt x="0" y="28099"/>
                    <a:pt x="0" y="43270"/>
                  </a:cubicBezTo>
                  <a:lnTo>
                    <a:pt x="0" y="200058"/>
                  </a:lnTo>
                  <a:cubicBezTo>
                    <a:pt x="0" y="215230"/>
                    <a:pt x="0" y="222785"/>
                    <a:pt x="2955" y="228571"/>
                  </a:cubicBezTo>
                  <a:cubicBezTo>
                    <a:pt x="5556" y="233647"/>
                    <a:pt x="9693" y="237779"/>
                    <a:pt x="14776" y="240377"/>
                  </a:cubicBezTo>
                  <a:cubicBezTo>
                    <a:pt x="20568" y="243329"/>
                    <a:pt x="28134" y="243329"/>
                    <a:pt x="43264" y="243329"/>
                  </a:cubicBezTo>
                  <a:lnTo>
                    <a:pt x="146224" y="243329"/>
                  </a:lnTo>
                  <a:cubicBezTo>
                    <a:pt x="161354" y="243329"/>
                    <a:pt x="168920" y="243329"/>
                    <a:pt x="174711" y="240377"/>
                  </a:cubicBezTo>
                  <a:cubicBezTo>
                    <a:pt x="179795" y="237779"/>
                    <a:pt x="183932" y="233647"/>
                    <a:pt x="186532" y="228571"/>
                  </a:cubicBezTo>
                  <a:cubicBezTo>
                    <a:pt x="189488" y="222785"/>
                    <a:pt x="189488" y="215230"/>
                    <a:pt x="189488" y="200117"/>
                  </a:cubicBezTo>
                  <a:lnTo>
                    <a:pt x="189488" y="85537"/>
                  </a:lnTo>
                  <a:cubicBezTo>
                    <a:pt x="189488" y="83884"/>
                    <a:pt x="189488" y="82408"/>
                    <a:pt x="189488" y="81110"/>
                  </a:cubicBezTo>
                  <a:moveTo>
                    <a:pt x="108338" y="0"/>
                  </a:moveTo>
                  <a:cubicBezTo>
                    <a:pt x="112179" y="0"/>
                    <a:pt x="114662" y="177"/>
                    <a:pt x="116967" y="767"/>
                  </a:cubicBezTo>
                  <a:cubicBezTo>
                    <a:pt x="119745" y="1417"/>
                    <a:pt x="122405" y="2538"/>
                    <a:pt x="124828" y="4014"/>
                  </a:cubicBezTo>
                  <a:cubicBezTo>
                    <a:pt x="127547" y="5667"/>
                    <a:pt x="129911" y="8028"/>
                    <a:pt x="134580" y="12692"/>
                  </a:cubicBezTo>
                  <a:lnTo>
                    <a:pt x="176899" y="54959"/>
                  </a:lnTo>
                  <a:cubicBezTo>
                    <a:pt x="181568" y="59622"/>
                    <a:pt x="183932" y="61983"/>
                    <a:pt x="185587" y="64699"/>
                  </a:cubicBezTo>
                  <a:cubicBezTo>
                    <a:pt x="187065" y="67119"/>
                    <a:pt x="188187" y="69776"/>
                    <a:pt x="188838" y="72491"/>
                  </a:cubicBezTo>
                  <a:cubicBezTo>
                    <a:pt x="189369" y="74793"/>
                    <a:pt x="189547" y="77272"/>
                    <a:pt x="189606" y="81110"/>
                  </a:cubicBezTo>
                  <a:moveTo>
                    <a:pt x="108338" y="0"/>
                  </a:moveTo>
                  <a:lnTo>
                    <a:pt x="108338" y="37839"/>
                  </a:lnTo>
                  <a:cubicBezTo>
                    <a:pt x="108338" y="53011"/>
                    <a:pt x="108338" y="60566"/>
                    <a:pt x="111293" y="66352"/>
                  </a:cubicBezTo>
                  <a:cubicBezTo>
                    <a:pt x="113894" y="71428"/>
                    <a:pt x="118031" y="75560"/>
                    <a:pt x="123114" y="78158"/>
                  </a:cubicBezTo>
                  <a:cubicBezTo>
                    <a:pt x="128906" y="81110"/>
                    <a:pt x="136471" y="81110"/>
                    <a:pt x="151602" y="81110"/>
                  </a:cubicBezTo>
                  <a:lnTo>
                    <a:pt x="189547" y="81110"/>
                  </a:lnTo>
                </a:path>
              </a:pathLst>
            </a:custGeom>
            <a:noFill/>
            <a:ln w="22225" cap="rnd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26" name="Google Shape;726;p14"/>
          <p:cNvGrpSpPr/>
          <p:nvPr/>
        </p:nvGrpSpPr>
        <p:grpSpPr>
          <a:xfrm>
            <a:off x="454320" y="5077903"/>
            <a:ext cx="5051622" cy="633216"/>
            <a:chOff x="6366346" y="1556712"/>
            <a:chExt cx="5051622" cy="633216"/>
          </a:xfrm>
        </p:grpSpPr>
        <p:sp>
          <p:nvSpPr>
            <p:cNvPr id="727" name="Google Shape;727;p14"/>
            <p:cNvSpPr/>
            <p:nvPr/>
          </p:nvSpPr>
          <p:spPr>
            <a:xfrm>
              <a:off x="6366346" y="1556712"/>
              <a:ext cx="5051622" cy="633216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28" name="Google Shape;728;p14"/>
            <p:cNvSpPr txBox="1"/>
            <p:nvPr/>
          </p:nvSpPr>
          <p:spPr>
            <a:xfrm>
              <a:off x="7155043" y="1719518"/>
              <a:ext cx="3691421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Доверенный обратный поток</a:t>
              </a:r>
              <a:endParaRPr/>
            </a:p>
          </p:txBody>
        </p:sp>
        <p:sp>
          <p:nvSpPr>
            <p:cNvPr id="729" name="Google Shape;729;p14"/>
            <p:cNvSpPr/>
            <p:nvPr/>
          </p:nvSpPr>
          <p:spPr>
            <a:xfrm>
              <a:off x="6492531" y="1662601"/>
              <a:ext cx="456428" cy="456428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730" name="Google Shape;730;p14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6605113" y="1772119"/>
              <a:ext cx="209373" cy="228407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31" name="Google Shape;731;p14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557364" y="1023656"/>
            <a:ext cx="4617153" cy="481068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7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7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7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7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7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" name="Google Shape;736;p15"/>
          <p:cNvSpPr/>
          <p:nvPr/>
        </p:nvSpPr>
        <p:spPr>
          <a:xfrm>
            <a:off x="-3810" y="2214407"/>
            <a:ext cx="12192000" cy="2621525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37" name="Google Shape;737;p15"/>
          <p:cNvSpPr txBox="1"/>
          <p:nvPr/>
        </p:nvSpPr>
        <p:spPr>
          <a:xfrm>
            <a:off x="5516189" y="3725949"/>
            <a:ext cx="576001" cy="3110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rPr>
              <a:t>2022 г.</a:t>
            </a:r>
            <a:endParaRPr sz="1200">
              <a:solidFill>
                <a:schemeClr val="lt1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grpSp>
        <p:nvGrpSpPr>
          <p:cNvPr id="738" name="Google Shape;738;p15"/>
          <p:cNvGrpSpPr/>
          <p:nvPr/>
        </p:nvGrpSpPr>
        <p:grpSpPr>
          <a:xfrm>
            <a:off x="630212" y="1630497"/>
            <a:ext cx="3360678" cy="3941641"/>
            <a:chOff x="750000" y="1470536"/>
            <a:chExt cx="3713910" cy="4355935"/>
          </a:xfrm>
        </p:grpSpPr>
        <p:grpSp>
          <p:nvGrpSpPr>
            <p:cNvPr id="739" name="Google Shape;739;p15"/>
            <p:cNvGrpSpPr/>
            <p:nvPr/>
          </p:nvGrpSpPr>
          <p:grpSpPr>
            <a:xfrm>
              <a:off x="750000" y="1470536"/>
              <a:ext cx="3713910" cy="3917588"/>
              <a:chOff x="750000" y="1470536"/>
              <a:chExt cx="3713910" cy="3917588"/>
            </a:xfrm>
          </p:grpSpPr>
          <p:sp>
            <p:nvSpPr>
              <p:cNvPr id="740" name="Google Shape;740;p15"/>
              <p:cNvSpPr/>
              <p:nvPr/>
            </p:nvSpPr>
            <p:spPr>
              <a:xfrm>
                <a:off x="750000" y="1470536"/>
                <a:ext cx="3713910" cy="3917588"/>
              </a:xfrm>
              <a:custGeom>
                <a:avLst/>
                <a:gdLst/>
                <a:ahLst/>
                <a:cxnLst/>
                <a:rect l="l" t="t" r="r" b="b"/>
                <a:pathLst>
                  <a:path w="3713910" h="3917588" extrusionOk="0">
                    <a:moveTo>
                      <a:pt x="3673777" y="1012557"/>
                    </a:moveTo>
                    <a:cubicBezTo>
                      <a:pt x="3682511" y="1025658"/>
                      <a:pt x="3690016" y="1039401"/>
                      <a:pt x="3695441" y="1054203"/>
                    </a:cubicBezTo>
                    <a:cubicBezTo>
                      <a:pt x="3697785" y="1060574"/>
                      <a:pt x="3700319" y="1066585"/>
                      <a:pt x="3705196" y="1071841"/>
                    </a:cubicBezTo>
                    <a:cubicBezTo>
                      <a:pt x="3709752" y="1076756"/>
                      <a:pt x="3712965" y="1083089"/>
                      <a:pt x="3713911" y="1090821"/>
                    </a:cubicBezTo>
                    <a:cubicBezTo>
                      <a:pt x="3682019" y="1108175"/>
                      <a:pt x="3648805" y="1122523"/>
                      <a:pt x="3616346" y="1138421"/>
                    </a:cubicBezTo>
                    <a:cubicBezTo>
                      <a:pt x="3549917" y="1170936"/>
                      <a:pt x="3483280" y="1203017"/>
                      <a:pt x="3417532" y="1236855"/>
                    </a:cubicBezTo>
                    <a:cubicBezTo>
                      <a:pt x="3373523" y="1259502"/>
                      <a:pt x="3329608" y="1282452"/>
                      <a:pt x="3284806" y="1303378"/>
                    </a:cubicBezTo>
                    <a:cubicBezTo>
                      <a:pt x="3203272" y="1341470"/>
                      <a:pt x="3122457" y="1381037"/>
                      <a:pt x="3042474" y="1422191"/>
                    </a:cubicBezTo>
                    <a:cubicBezTo>
                      <a:pt x="2998446" y="1444857"/>
                      <a:pt x="2954551" y="1467863"/>
                      <a:pt x="2909748" y="1488828"/>
                    </a:cubicBezTo>
                    <a:cubicBezTo>
                      <a:pt x="2830918" y="1525729"/>
                      <a:pt x="2752711" y="1563934"/>
                      <a:pt x="2675337" y="1603708"/>
                    </a:cubicBezTo>
                    <a:cubicBezTo>
                      <a:pt x="2634088" y="1624919"/>
                      <a:pt x="2593047" y="1646583"/>
                      <a:pt x="2551099" y="1666281"/>
                    </a:cubicBezTo>
                    <a:cubicBezTo>
                      <a:pt x="2469584" y="1704524"/>
                      <a:pt x="2388693" y="1744034"/>
                      <a:pt x="2308615" y="1785112"/>
                    </a:cubicBezTo>
                    <a:cubicBezTo>
                      <a:pt x="2270146" y="1804829"/>
                      <a:pt x="2231505" y="1824206"/>
                      <a:pt x="2192903" y="1843677"/>
                    </a:cubicBezTo>
                    <a:cubicBezTo>
                      <a:pt x="2167515" y="1856494"/>
                      <a:pt x="2141541" y="1868177"/>
                      <a:pt x="2115831" y="1880370"/>
                    </a:cubicBezTo>
                    <a:cubicBezTo>
                      <a:pt x="2113147" y="1878990"/>
                      <a:pt x="2112693" y="1880673"/>
                      <a:pt x="2112542" y="1882771"/>
                    </a:cubicBezTo>
                    <a:cubicBezTo>
                      <a:pt x="2111124" y="1883225"/>
                      <a:pt x="2109706" y="1883660"/>
                      <a:pt x="2108270" y="1884113"/>
                    </a:cubicBezTo>
                    <a:cubicBezTo>
                      <a:pt x="2105585" y="1882771"/>
                      <a:pt x="2105094" y="1884416"/>
                      <a:pt x="2104942" y="1886533"/>
                    </a:cubicBezTo>
                    <a:cubicBezTo>
                      <a:pt x="2103525" y="1886968"/>
                      <a:pt x="2102126" y="1887421"/>
                      <a:pt x="2100708" y="1887856"/>
                    </a:cubicBezTo>
                    <a:cubicBezTo>
                      <a:pt x="2098023" y="1886533"/>
                      <a:pt x="2097513" y="1888178"/>
                      <a:pt x="2097343" y="1890295"/>
                    </a:cubicBezTo>
                    <a:cubicBezTo>
                      <a:pt x="2095944" y="1890730"/>
                      <a:pt x="2094545" y="1891165"/>
                      <a:pt x="2093146" y="1891599"/>
                    </a:cubicBezTo>
                    <a:cubicBezTo>
                      <a:pt x="2090481" y="1890314"/>
                      <a:pt x="2089933" y="1891940"/>
                      <a:pt x="2089762" y="1894076"/>
                    </a:cubicBezTo>
                    <a:cubicBezTo>
                      <a:pt x="2088382" y="1894511"/>
                      <a:pt x="2086983" y="1894926"/>
                      <a:pt x="2085603" y="1895361"/>
                    </a:cubicBezTo>
                    <a:cubicBezTo>
                      <a:pt x="2082938" y="1894095"/>
                      <a:pt x="2082371" y="1895720"/>
                      <a:pt x="2082182" y="1897857"/>
                    </a:cubicBezTo>
                    <a:cubicBezTo>
                      <a:pt x="2080802" y="1898272"/>
                      <a:pt x="2079422" y="1898688"/>
                      <a:pt x="2078042" y="1899123"/>
                    </a:cubicBezTo>
                    <a:cubicBezTo>
                      <a:pt x="2075376" y="1897876"/>
                      <a:pt x="2074790" y="1899501"/>
                      <a:pt x="2074582" y="1901637"/>
                    </a:cubicBezTo>
                    <a:cubicBezTo>
                      <a:pt x="2073221" y="1902053"/>
                      <a:pt x="2071860" y="1902450"/>
                      <a:pt x="2070480" y="1902866"/>
                    </a:cubicBezTo>
                    <a:cubicBezTo>
                      <a:pt x="2067815" y="1901656"/>
                      <a:pt x="2067210" y="1903263"/>
                      <a:pt x="2066983" y="1905418"/>
                    </a:cubicBezTo>
                    <a:cubicBezTo>
                      <a:pt x="2065622" y="1905815"/>
                      <a:pt x="2064280" y="1906231"/>
                      <a:pt x="2062919" y="1906628"/>
                    </a:cubicBezTo>
                    <a:cubicBezTo>
                      <a:pt x="2060253" y="1905418"/>
                      <a:pt x="2059610" y="1907044"/>
                      <a:pt x="2059383" y="1909199"/>
                    </a:cubicBezTo>
                    <a:cubicBezTo>
                      <a:pt x="2058041" y="1909596"/>
                      <a:pt x="2056699" y="1909974"/>
                      <a:pt x="2055357" y="1910371"/>
                    </a:cubicBezTo>
                    <a:cubicBezTo>
                      <a:pt x="2052691" y="1909199"/>
                      <a:pt x="2052030" y="1910806"/>
                      <a:pt x="2051765" y="1912961"/>
                    </a:cubicBezTo>
                    <a:cubicBezTo>
                      <a:pt x="2022445" y="1924549"/>
                      <a:pt x="1994826" y="1939578"/>
                      <a:pt x="1967207" y="1954607"/>
                    </a:cubicBezTo>
                    <a:cubicBezTo>
                      <a:pt x="1965676" y="1955439"/>
                      <a:pt x="1964711" y="1957348"/>
                      <a:pt x="1963143" y="1959144"/>
                    </a:cubicBezTo>
                    <a:cubicBezTo>
                      <a:pt x="1967074" y="1964342"/>
                      <a:pt x="1973181" y="1965930"/>
                      <a:pt x="1978417" y="1968558"/>
                    </a:cubicBezTo>
                    <a:cubicBezTo>
                      <a:pt x="2169368" y="2064534"/>
                      <a:pt x="2360337" y="2160435"/>
                      <a:pt x="2551345" y="2256279"/>
                    </a:cubicBezTo>
                    <a:cubicBezTo>
                      <a:pt x="2728022" y="2344939"/>
                      <a:pt x="2904738" y="2433486"/>
                      <a:pt x="3081416" y="2522147"/>
                    </a:cubicBezTo>
                    <a:cubicBezTo>
                      <a:pt x="3178489" y="2570862"/>
                      <a:pt x="3275467" y="2619786"/>
                      <a:pt x="3372521" y="2668521"/>
                    </a:cubicBezTo>
                    <a:cubicBezTo>
                      <a:pt x="3478838" y="2721906"/>
                      <a:pt x="3585211" y="2775216"/>
                      <a:pt x="3691547" y="2828545"/>
                    </a:cubicBezTo>
                    <a:cubicBezTo>
                      <a:pt x="3694364" y="2829962"/>
                      <a:pt x="3697067" y="2831645"/>
                      <a:pt x="3699997" y="2832760"/>
                    </a:cubicBezTo>
                    <a:cubicBezTo>
                      <a:pt x="3708561" y="2836031"/>
                      <a:pt x="3709373" y="2840719"/>
                      <a:pt x="3704912" y="2848696"/>
                    </a:cubicBezTo>
                    <a:cubicBezTo>
                      <a:pt x="3688995" y="2877204"/>
                      <a:pt x="3674306" y="2906411"/>
                      <a:pt x="3658011" y="2934691"/>
                    </a:cubicBezTo>
                    <a:cubicBezTo>
                      <a:pt x="3641300" y="2963690"/>
                      <a:pt x="3623265" y="2991914"/>
                      <a:pt x="3605817" y="3020478"/>
                    </a:cubicBezTo>
                    <a:cubicBezTo>
                      <a:pt x="3603510" y="3020554"/>
                      <a:pt x="3602225" y="3021537"/>
                      <a:pt x="3602622" y="3024032"/>
                    </a:cubicBezTo>
                    <a:cubicBezTo>
                      <a:pt x="3585986" y="3050063"/>
                      <a:pt x="3568708" y="3075640"/>
                      <a:pt x="3550503" y="3100632"/>
                    </a:cubicBezTo>
                    <a:cubicBezTo>
                      <a:pt x="3539482" y="3115774"/>
                      <a:pt x="3529539" y="3131805"/>
                      <a:pt x="3517610" y="3146247"/>
                    </a:cubicBezTo>
                    <a:cubicBezTo>
                      <a:pt x="3500691" y="3166758"/>
                      <a:pt x="3484036" y="3187534"/>
                      <a:pt x="3467136" y="3208007"/>
                    </a:cubicBezTo>
                    <a:cubicBezTo>
                      <a:pt x="3447684" y="3231581"/>
                      <a:pt x="3427608" y="3254606"/>
                      <a:pt x="3407683" y="3277744"/>
                    </a:cubicBezTo>
                    <a:cubicBezTo>
                      <a:pt x="3392654" y="3295193"/>
                      <a:pt x="3376396" y="3311640"/>
                      <a:pt x="3360158" y="3328010"/>
                    </a:cubicBezTo>
                    <a:cubicBezTo>
                      <a:pt x="3338928" y="3349391"/>
                      <a:pt x="3317189" y="3370261"/>
                      <a:pt x="3295676" y="3391358"/>
                    </a:cubicBezTo>
                    <a:cubicBezTo>
                      <a:pt x="3293180" y="3390886"/>
                      <a:pt x="3292216" y="3392096"/>
                      <a:pt x="3292273" y="3394421"/>
                    </a:cubicBezTo>
                    <a:cubicBezTo>
                      <a:pt x="3266091" y="3417938"/>
                      <a:pt x="3240646" y="3442305"/>
                      <a:pt x="3212441" y="3463515"/>
                    </a:cubicBezTo>
                    <a:cubicBezTo>
                      <a:pt x="3209889" y="3462702"/>
                      <a:pt x="3209114" y="3463818"/>
                      <a:pt x="3209492" y="3466200"/>
                    </a:cubicBezTo>
                    <a:cubicBezTo>
                      <a:pt x="3203764" y="3472589"/>
                      <a:pt x="3197109" y="3477864"/>
                      <a:pt x="3189756" y="3482249"/>
                    </a:cubicBezTo>
                    <a:cubicBezTo>
                      <a:pt x="3187147" y="3481493"/>
                      <a:pt x="3186334" y="3482684"/>
                      <a:pt x="3186599" y="3485104"/>
                    </a:cubicBezTo>
                    <a:cubicBezTo>
                      <a:pt x="3172591" y="3498318"/>
                      <a:pt x="3154254" y="3505785"/>
                      <a:pt x="3140813" y="3519736"/>
                    </a:cubicBezTo>
                    <a:cubicBezTo>
                      <a:pt x="3138450" y="3519453"/>
                      <a:pt x="3137221" y="3520303"/>
                      <a:pt x="3137675" y="3522855"/>
                    </a:cubicBezTo>
                    <a:cubicBezTo>
                      <a:pt x="3126786" y="3534708"/>
                      <a:pt x="3110756" y="3539132"/>
                      <a:pt x="3098789" y="3549699"/>
                    </a:cubicBezTo>
                    <a:cubicBezTo>
                      <a:pt x="3095330" y="3552762"/>
                      <a:pt x="3092040" y="3556731"/>
                      <a:pt x="3087522" y="3558773"/>
                    </a:cubicBezTo>
                    <a:cubicBezTo>
                      <a:pt x="3085121" y="3557355"/>
                      <a:pt x="3084743" y="3558471"/>
                      <a:pt x="3085178" y="3560626"/>
                    </a:cubicBezTo>
                    <a:cubicBezTo>
                      <a:pt x="3071907" y="3573745"/>
                      <a:pt x="3053381" y="3578906"/>
                      <a:pt x="3039525" y="3591269"/>
                    </a:cubicBezTo>
                    <a:cubicBezTo>
                      <a:pt x="3023399" y="3605655"/>
                      <a:pt x="3003021" y="3613652"/>
                      <a:pt x="2985553" y="3626053"/>
                    </a:cubicBezTo>
                    <a:cubicBezTo>
                      <a:pt x="2982945" y="3625108"/>
                      <a:pt x="2982113" y="3626904"/>
                      <a:pt x="2981338" y="3628775"/>
                    </a:cubicBezTo>
                    <a:cubicBezTo>
                      <a:pt x="2976442" y="3631686"/>
                      <a:pt x="2971527" y="3634598"/>
                      <a:pt x="2966630" y="3637509"/>
                    </a:cubicBezTo>
                    <a:cubicBezTo>
                      <a:pt x="2964040" y="3636450"/>
                      <a:pt x="2963266" y="3638265"/>
                      <a:pt x="2962509" y="3640099"/>
                    </a:cubicBezTo>
                    <a:cubicBezTo>
                      <a:pt x="2957594" y="3642953"/>
                      <a:pt x="2952679" y="3645827"/>
                      <a:pt x="2947764" y="3648681"/>
                    </a:cubicBezTo>
                    <a:cubicBezTo>
                      <a:pt x="2945136" y="3647755"/>
                      <a:pt x="2944399" y="3649211"/>
                      <a:pt x="2944286" y="3651441"/>
                    </a:cubicBezTo>
                    <a:cubicBezTo>
                      <a:pt x="2936762" y="3655846"/>
                      <a:pt x="2929994" y="3661649"/>
                      <a:pt x="2921279" y="3663861"/>
                    </a:cubicBezTo>
                    <a:cubicBezTo>
                      <a:pt x="2918633" y="3662859"/>
                      <a:pt x="2917933" y="3664353"/>
                      <a:pt x="2917801" y="3666565"/>
                    </a:cubicBezTo>
                    <a:cubicBezTo>
                      <a:pt x="2905097" y="3673238"/>
                      <a:pt x="2892394" y="3679892"/>
                      <a:pt x="2879690" y="3686565"/>
                    </a:cubicBezTo>
                    <a:cubicBezTo>
                      <a:pt x="2877044" y="3685506"/>
                      <a:pt x="2876344" y="3687038"/>
                      <a:pt x="2876155" y="3689231"/>
                    </a:cubicBezTo>
                    <a:cubicBezTo>
                      <a:pt x="2848234" y="3706074"/>
                      <a:pt x="2819027" y="3720101"/>
                      <a:pt x="2788459" y="3731670"/>
                    </a:cubicBezTo>
                    <a:cubicBezTo>
                      <a:pt x="2773090" y="3737493"/>
                      <a:pt x="2758647" y="3745848"/>
                      <a:pt x="2743675" y="3752824"/>
                    </a:cubicBezTo>
                    <a:cubicBezTo>
                      <a:pt x="2706434" y="3770159"/>
                      <a:pt x="2667964" y="3784054"/>
                      <a:pt x="2629778" y="3798818"/>
                    </a:cubicBezTo>
                    <a:cubicBezTo>
                      <a:pt x="2607830" y="3807306"/>
                      <a:pt x="2585126" y="3813922"/>
                      <a:pt x="2563235" y="3822542"/>
                    </a:cubicBezTo>
                    <a:cubicBezTo>
                      <a:pt x="2541949" y="3830917"/>
                      <a:pt x="2519737" y="3835927"/>
                      <a:pt x="2497884" y="3842052"/>
                    </a:cubicBezTo>
                    <a:cubicBezTo>
                      <a:pt x="2459225" y="3852846"/>
                      <a:pt x="2420490" y="3863205"/>
                      <a:pt x="2381188" y="3871901"/>
                    </a:cubicBezTo>
                    <a:cubicBezTo>
                      <a:pt x="2347955" y="3879255"/>
                      <a:pt x="2314476" y="3884510"/>
                      <a:pt x="2281186" y="3891127"/>
                    </a:cubicBezTo>
                    <a:cubicBezTo>
                      <a:pt x="2227082" y="3901883"/>
                      <a:pt x="2172222" y="3906779"/>
                      <a:pt x="2117419" y="3911354"/>
                    </a:cubicBezTo>
                    <a:cubicBezTo>
                      <a:pt x="2013465" y="3920031"/>
                      <a:pt x="1909360" y="3919105"/>
                      <a:pt x="1805350" y="3911940"/>
                    </a:cubicBezTo>
                    <a:cubicBezTo>
                      <a:pt x="1764857" y="3909142"/>
                      <a:pt x="1724289" y="3905475"/>
                      <a:pt x="1684174" y="3899955"/>
                    </a:cubicBezTo>
                    <a:cubicBezTo>
                      <a:pt x="1652018" y="3895531"/>
                      <a:pt x="1619692" y="3890163"/>
                      <a:pt x="1587763" y="3882922"/>
                    </a:cubicBezTo>
                    <a:cubicBezTo>
                      <a:pt x="1551165" y="3874642"/>
                      <a:pt x="1513943" y="3868650"/>
                      <a:pt x="1477703" y="3858914"/>
                    </a:cubicBezTo>
                    <a:cubicBezTo>
                      <a:pt x="1449990" y="3851466"/>
                      <a:pt x="1422333" y="3843564"/>
                      <a:pt x="1394884" y="3834963"/>
                    </a:cubicBezTo>
                    <a:cubicBezTo>
                      <a:pt x="1373277" y="3828195"/>
                      <a:pt x="1350819" y="3823752"/>
                      <a:pt x="1329646" y="3815699"/>
                    </a:cubicBezTo>
                    <a:cubicBezTo>
                      <a:pt x="1262499" y="3790179"/>
                      <a:pt x="1195692" y="3763845"/>
                      <a:pt x="1130227" y="3734166"/>
                    </a:cubicBezTo>
                    <a:cubicBezTo>
                      <a:pt x="1093590" y="3717568"/>
                      <a:pt x="1058240" y="3698683"/>
                      <a:pt x="1022776" y="3679798"/>
                    </a:cubicBezTo>
                    <a:cubicBezTo>
                      <a:pt x="956025" y="3644239"/>
                      <a:pt x="892734" y="3603330"/>
                      <a:pt x="830823" y="3560172"/>
                    </a:cubicBezTo>
                    <a:cubicBezTo>
                      <a:pt x="725168" y="3486559"/>
                      <a:pt x="628284" y="3402512"/>
                      <a:pt x="539586" y="3309352"/>
                    </a:cubicBezTo>
                    <a:cubicBezTo>
                      <a:pt x="457996" y="3223660"/>
                      <a:pt x="384856" y="3130992"/>
                      <a:pt x="320034" y="3031859"/>
                    </a:cubicBezTo>
                    <a:cubicBezTo>
                      <a:pt x="292471" y="2989721"/>
                      <a:pt x="266800" y="2946469"/>
                      <a:pt x="242186" y="2902573"/>
                    </a:cubicBezTo>
                    <a:cubicBezTo>
                      <a:pt x="214889" y="2853895"/>
                      <a:pt x="191296" y="2803402"/>
                      <a:pt x="167836" y="2752815"/>
                    </a:cubicBezTo>
                    <a:cubicBezTo>
                      <a:pt x="150842" y="2716216"/>
                      <a:pt x="135208" y="2678956"/>
                      <a:pt x="121654" y="2641129"/>
                    </a:cubicBezTo>
                    <a:cubicBezTo>
                      <a:pt x="112731" y="2616176"/>
                      <a:pt x="99649" y="2592678"/>
                      <a:pt x="93732" y="2566836"/>
                    </a:cubicBezTo>
                    <a:cubicBezTo>
                      <a:pt x="80291" y="2508101"/>
                      <a:pt x="60990" y="2450935"/>
                      <a:pt x="47984" y="2392048"/>
                    </a:cubicBezTo>
                    <a:cubicBezTo>
                      <a:pt x="30082" y="2311063"/>
                      <a:pt x="16566" y="2229454"/>
                      <a:pt x="9212" y="2146843"/>
                    </a:cubicBezTo>
                    <a:cubicBezTo>
                      <a:pt x="8550" y="2139338"/>
                      <a:pt x="7000" y="2131909"/>
                      <a:pt x="5866" y="2124461"/>
                    </a:cubicBezTo>
                    <a:cubicBezTo>
                      <a:pt x="7170" y="2120755"/>
                      <a:pt x="7473" y="2117201"/>
                      <a:pt x="4183" y="2114252"/>
                    </a:cubicBezTo>
                    <a:cubicBezTo>
                      <a:pt x="7227" y="2104195"/>
                      <a:pt x="4032" y="2094270"/>
                      <a:pt x="3484" y="2084327"/>
                    </a:cubicBezTo>
                    <a:cubicBezTo>
                      <a:pt x="-3454" y="1958274"/>
                      <a:pt x="-410" y="1832618"/>
                      <a:pt x="16055" y="1707284"/>
                    </a:cubicBezTo>
                    <a:cubicBezTo>
                      <a:pt x="19874" y="1678247"/>
                      <a:pt x="22312" y="1648625"/>
                      <a:pt x="27851" y="1620193"/>
                    </a:cubicBezTo>
                    <a:cubicBezTo>
                      <a:pt x="41311" y="1550928"/>
                      <a:pt x="57285" y="1482060"/>
                      <a:pt x="76964" y="1414119"/>
                    </a:cubicBezTo>
                    <a:cubicBezTo>
                      <a:pt x="88987" y="1372643"/>
                      <a:pt x="102390" y="1331584"/>
                      <a:pt x="116474" y="1290864"/>
                    </a:cubicBezTo>
                    <a:cubicBezTo>
                      <a:pt x="134792" y="1237932"/>
                      <a:pt x="157553" y="1186589"/>
                      <a:pt x="181372" y="1135831"/>
                    </a:cubicBezTo>
                    <a:cubicBezTo>
                      <a:pt x="190881" y="1115566"/>
                      <a:pt x="197459" y="1094110"/>
                      <a:pt x="208329" y="1074393"/>
                    </a:cubicBezTo>
                    <a:cubicBezTo>
                      <a:pt x="281942" y="940930"/>
                      <a:pt x="362511" y="812193"/>
                      <a:pt x="461758" y="695857"/>
                    </a:cubicBezTo>
                    <a:cubicBezTo>
                      <a:pt x="481191" y="673096"/>
                      <a:pt x="499963" y="649466"/>
                      <a:pt x="520398" y="627896"/>
                    </a:cubicBezTo>
                    <a:cubicBezTo>
                      <a:pt x="543650" y="603359"/>
                      <a:pt x="567791" y="579369"/>
                      <a:pt x="592158" y="555739"/>
                    </a:cubicBezTo>
                    <a:cubicBezTo>
                      <a:pt x="715602" y="435944"/>
                      <a:pt x="852204" y="333805"/>
                      <a:pt x="1002454" y="250041"/>
                    </a:cubicBezTo>
                    <a:cubicBezTo>
                      <a:pt x="1028806" y="235352"/>
                      <a:pt x="1054837" y="220191"/>
                      <a:pt x="1082135" y="206958"/>
                    </a:cubicBezTo>
                    <a:cubicBezTo>
                      <a:pt x="1164746" y="166881"/>
                      <a:pt x="1249398" y="132249"/>
                      <a:pt x="1336149" y="102210"/>
                    </a:cubicBezTo>
                    <a:cubicBezTo>
                      <a:pt x="1375016" y="88751"/>
                      <a:pt x="1414431" y="77011"/>
                      <a:pt x="1453846" y="65877"/>
                    </a:cubicBezTo>
                    <a:cubicBezTo>
                      <a:pt x="1504642" y="51509"/>
                      <a:pt x="1556571" y="40205"/>
                      <a:pt x="1608652" y="31471"/>
                    </a:cubicBezTo>
                    <a:cubicBezTo>
                      <a:pt x="1762154" y="5761"/>
                      <a:pt x="1916619" y="-6772"/>
                      <a:pt x="2072427" y="3701"/>
                    </a:cubicBezTo>
                    <a:cubicBezTo>
                      <a:pt x="2114565" y="6536"/>
                      <a:pt x="2156645" y="9486"/>
                      <a:pt x="2198480" y="15270"/>
                    </a:cubicBezTo>
                    <a:cubicBezTo>
                      <a:pt x="2235551" y="20393"/>
                      <a:pt x="2273038" y="23701"/>
                      <a:pt x="2309523" y="31584"/>
                    </a:cubicBezTo>
                    <a:cubicBezTo>
                      <a:pt x="2337217" y="37577"/>
                      <a:pt x="2364893" y="44080"/>
                      <a:pt x="2392720" y="49487"/>
                    </a:cubicBezTo>
                    <a:cubicBezTo>
                      <a:pt x="2426407" y="56009"/>
                      <a:pt x="2459300" y="65461"/>
                      <a:pt x="2492231" y="74648"/>
                    </a:cubicBezTo>
                    <a:cubicBezTo>
                      <a:pt x="2530342" y="85291"/>
                      <a:pt x="2567923" y="98014"/>
                      <a:pt x="2605372" y="110831"/>
                    </a:cubicBezTo>
                    <a:cubicBezTo>
                      <a:pt x="2768591" y="166711"/>
                      <a:pt x="2920863" y="244350"/>
                      <a:pt x="3063514" y="341272"/>
                    </a:cubicBezTo>
                    <a:cubicBezTo>
                      <a:pt x="3175426" y="417304"/>
                      <a:pt x="3278114" y="504188"/>
                      <a:pt x="3371916" y="601563"/>
                    </a:cubicBezTo>
                    <a:cubicBezTo>
                      <a:pt x="3477212" y="710885"/>
                      <a:pt x="3568557" y="830908"/>
                      <a:pt x="3645515" y="961762"/>
                    </a:cubicBezTo>
                    <a:cubicBezTo>
                      <a:pt x="3654684" y="977339"/>
                      <a:pt x="3665421" y="992217"/>
                      <a:pt x="3671112" y="1009703"/>
                    </a:cubicBezTo>
                    <a:cubicBezTo>
                      <a:pt x="3670545" y="1012085"/>
                      <a:pt x="3671527" y="1012973"/>
                      <a:pt x="3673853" y="1012557"/>
                    </a:cubicBezTo>
                    <a:close/>
                  </a:path>
                </a:pathLst>
              </a:custGeom>
              <a:solidFill>
                <a:srgbClr val="0A2973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15"/>
              <p:cNvSpPr/>
              <p:nvPr/>
            </p:nvSpPr>
            <p:spPr>
              <a:xfrm>
                <a:off x="752928" y="3584769"/>
                <a:ext cx="3820" cy="10208"/>
              </a:xfrm>
              <a:custGeom>
                <a:avLst/>
                <a:gdLst/>
                <a:ahLst/>
                <a:cxnLst/>
                <a:rect l="l" t="t" r="r" b="b"/>
                <a:pathLst>
                  <a:path w="3820" h="10208" extrusionOk="0">
                    <a:moveTo>
                      <a:pt x="1217" y="0"/>
                    </a:moveTo>
                    <a:cubicBezTo>
                      <a:pt x="4506" y="2949"/>
                      <a:pt x="4204" y="6503"/>
                      <a:pt x="2899" y="10208"/>
                    </a:cubicBezTo>
                    <a:cubicBezTo>
                      <a:pt x="-673" y="7297"/>
                      <a:pt x="-579" y="3781"/>
                      <a:pt x="121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2" name="Google Shape;742;p15"/>
              <p:cNvSpPr/>
              <p:nvPr/>
            </p:nvSpPr>
            <p:spPr>
              <a:xfrm>
                <a:off x="4420879" y="2480239"/>
                <a:ext cx="2898" cy="2953"/>
              </a:xfrm>
              <a:custGeom>
                <a:avLst/>
                <a:gdLst/>
                <a:ahLst/>
                <a:cxnLst/>
                <a:rect l="l" t="t" r="r" b="b"/>
                <a:pathLst>
                  <a:path w="2898" h="2953" extrusionOk="0">
                    <a:moveTo>
                      <a:pt x="2898" y="2855"/>
                    </a:moveTo>
                    <a:cubicBezTo>
                      <a:pt x="573" y="3270"/>
                      <a:pt x="-410" y="2382"/>
                      <a:pt x="157" y="0"/>
                    </a:cubicBezTo>
                    <a:cubicBezTo>
                      <a:pt x="1064" y="945"/>
                      <a:pt x="1991" y="1890"/>
                      <a:pt x="2898" y="285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3" name="Google Shape;743;p15"/>
              <p:cNvSpPr/>
              <p:nvPr/>
            </p:nvSpPr>
            <p:spPr>
              <a:xfrm>
                <a:off x="2862542" y="3350385"/>
                <a:ext cx="3289" cy="2903"/>
              </a:xfrm>
              <a:custGeom>
                <a:avLst/>
                <a:gdLst/>
                <a:ahLst/>
                <a:cxnLst/>
                <a:rect l="l" t="t" r="r" b="b"/>
                <a:pathLst>
                  <a:path w="3289" h="2903" extrusionOk="0">
                    <a:moveTo>
                      <a:pt x="0" y="2903"/>
                    </a:moveTo>
                    <a:cubicBezTo>
                      <a:pt x="151" y="805"/>
                      <a:pt x="605" y="-878"/>
                      <a:pt x="3289" y="502"/>
                    </a:cubicBezTo>
                    <a:cubicBezTo>
                      <a:pt x="2193" y="1296"/>
                      <a:pt x="1096" y="2090"/>
                      <a:pt x="0" y="290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4" name="Google Shape;744;p15"/>
              <p:cNvSpPr/>
              <p:nvPr/>
            </p:nvSpPr>
            <p:spPr>
              <a:xfrm>
                <a:off x="2854961" y="3354136"/>
                <a:ext cx="3327" cy="2913"/>
              </a:xfrm>
              <a:custGeom>
                <a:avLst/>
                <a:gdLst/>
                <a:ahLst/>
                <a:cxnLst/>
                <a:rect l="l" t="t" r="r" b="b"/>
                <a:pathLst>
                  <a:path w="3327" h="2913" extrusionOk="0">
                    <a:moveTo>
                      <a:pt x="0" y="2914"/>
                    </a:moveTo>
                    <a:cubicBezTo>
                      <a:pt x="151" y="796"/>
                      <a:pt x="643" y="-867"/>
                      <a:pt x="3327" y="494"/>
                    </a:cubicBezTo>
                    <a:cubicBezTo>
                      <a:pt x="2212" y="1307"/>
                      <a:pt x="1115" y="2120"/>
                      <a:pt x="0" y="29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5" name="Google Shape;745;p15"/>
              <p:cNvSpPr/>
              <p:nvPr/>
            </p:nvSpPr>
            <p:spPr>
              <a:xfrm>
                <a:off x="2847361" y="3357917"/>
                <a:ext cx="3364" cy="2913"/>
              </a:xfrm>
              <a:custGeom>
                <a:avLst/>
                <a:gdLst/>
                <a:ahLst/>
                <a:cxnLst/>
                <a:rect l="l" t="t" r="r" b="b"/>
                <a:pathLst>
                  <a:path w="3364" h="2913" extrusionOk="0">
                    <a:moveTo>
                      <a:pt x="0" y="2914"/>
                    </a:moveTo>
                    <a:cubicBezTo>
                      <a:pt x="170" y="796"/>
                      <a:pt x="681" y="-848"/>
                      <a:pt x="3365" y="475"/>
                    </a:cubicBezTo>
                    <a:cubicBezTo>
                      <a:pt x="2250" y="1288"/>
                      <a:pt x="1115" y="2101"/>
                      <a:pt x="0" y="291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6" name="Google Shape;746;p15"/>
              <p:cNvSpPr/>
              <p:nvPr/>
            </p:nvSpPr>
            <p:spPr>
              <a:xfrm>
                <a:off x="2839781" y="3361660"/>
                <a:ext cx="3383" cy="2932"/>
              </a:xfrm>
              <a:custGeom>
                <a:avLst/>
                <a:gdLst/>
                <a:ahLst/>
                <a:cxnLst/>
                <a:rect l="l" t="t" r="r" b="b"/>
                <a:pathLst>
                  <a:path w="3383" h="2932" extrusionOk="0">
                    <a:moveTo>
                      <a:pt x="0" y="2932"/>
                    </a:moveTo>
                    <a:cubicBezTo>
                      <a:pt x="170" y="796"/>
                      <a:pt x="718" y="-830"/>
                      <a:pt x="3384" y="456"/>
                    </a:cubicBezTo>
                    <a:cubicBezTo>
                      <a:pt x="2250" y="1288"/>
                      <a:pt x="1115" y="2101"/>
                      <a:pt x="0" y="2932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7" name="Google Shape;747;p15"/>
              <p:cNvSpPr/>
              <p:nvPr/>
            </p:nvSpPr>
            <p:spPr>
              <a:xfrm>
                <a:off x="2832181" y="3365433"/>
                <a:ext cx="3421" cy="2940"/>
              </a:xfrm>
              <a:custGeom>
                <a:avLst/>
                <a:gdLst/>
                <a:ahLst/>
                <a:cxnLst/>
                <a:rect l="l" t="t" r="r" b="b"/>
                <a:pathLst>
                  <a:path w="3421" h="2940" extrusionOk="0">
                    <a:moveTo>
                      <a:pt x="0" y="2940"/>
                    </a:moveTo>
                    <a:cubicBezTo>
                      <a:pt x="189" y="804"/>
                      <a:pt x="756" y="-821"/>
                      <a:pt x="3422" y="445"/>
                    </a:cubicBezTo>
                    <a:cubicBezTo>
                      <a:pt x="2288" y="1277"/>
                      <a:pt x="1134" y="2109"/>
                      <a:pt x="0" y="294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15"/>
              <p:cNvSpPr/>
              <p:nvPr/>
            </p:nvSpPr>
            <p:spPr>
              <a:xfrm>
                <a:off x="2824601" y="3369187"/>
                <a:ext cx="3459" cy="2948"/>
              </a:xfrm>
              <a:custGeom>
                <a:avLst/>
                <a:gdLst/>
                <a:ahLst/>
                <a:cxnLst/>
                <a:rect l="l" t="t" r="r" b="b"/>
                <a:pathLst>
                  <a:path w="3459" h="2948" extrusionOk="0">
                    <a:moveTo>
                      <a:pt x="0" y="2949"/>
                    </a:moveTo>
                    <a:cubicBezTo>
                      <a:pt x="208" y="812"/>
                      <a:pt x="794" y="-813"/>
                      <a:pt x="3460" y="435"/>
                    </a:cubicBezTo>
                    <a:cubicBezTo>
                      <a:pt x="2306" y="1266"/>
                      <a:pt x="1153" y="2117"/>
                      <a:pt x="0" y="294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9" name="Google Shape;749;p15"/>
              <p:cNvSpPr/>
              <p:nvPr/>
            </p:nvSpPr>
            <p:spPr>
              <a:xfrm>
                <a:off x="2817002" y="3372948"/>
                <a:ext cx="3497" cy="2967"/>
              </a:xfrm>
              <a:custGeom>
                <a:avLst/>
                <a:gdLst/>
                <a:ahLst/>
                <a:cxnLst/>
                <a:rect l="l" t="t" r="r" b="b"/>
                <a:pathLst>
                  <a:path w="3497" h="2967" extrusionOk="0">
                    <a:moveTo>
                      <a:pt x="0" y="2968"/>
                    </a:moveTo>
                    <a:cubicBezTo>
                      <a:pt x="227" y="813"/>
                      <a:pt x="832" y="-794"/>
                      <a:pt x="3497" y="416"/>
                    </a:cubicBezTo>
                    <a:cubicBezTo>
                      <a:pt x="2325" y="1266"/>
                      <a:pt x="1172" y="2117"/>
                      <a:pt x="0" y="296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0" name="Google Shape;750;p15"/>
              <p:cNvSpPr/>
              <p:nvPr/>
            </p:nvSpPr>
            <p:spPr>
              <a:xfrm>
                <a:off x="2809402" y="3376702"/>
                <a:ext cx="3535" cy="2976"/>
              </a:xfrm>
              <a:custGeom>
                <a:avLst/>
                <a:gdLst/>
                <a:ahLst/>
                <a:cxnLst/>
                <a:rect l="l" t="t" r="r" b="b"/>
                <a:pathLst>
                  <a:path w="3535" h="2976" extrusionOk="0">
                    <a:moveTo>
                      <a:pt x="0" y="2976"/>
                    </a:moveTo>
                    <a:cubicBezTo>
                      <a:pt x="246" y="821"/>
                      <a:pt x="870" y="-786"/>
                      <a:pt x="3535" y="405"/>
                    </a:cubicBezTo>
                    <a:cubicBezTo>
                      <a:pt x="2363" y="1256"/>
                      <a:pt x="1172" y="2107"/>
                      <a:pt x="0" y="297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1" name="Google Shape;751;p15"/>
              <p:cNvSpPr/>
              <p:nvPr/>
            </p:nvSpPr>
            <p:spPr>
              <a:xfrm>
                <a:off x="2801803" y="3380455"/>
                <a:ext cx="3591" cy="2984"/>
              </a:xfrm>
              <a:custGeom>
                <a:avLst/>
                <a:gdLst/>
                <a:ahLst/>
                <a:cxnLst/>
                <a:rect l="l" t="t" r="r" b="b"/>
                <a:pathLst>
                  <a:path w="3591" h="2984" extrusionOk="0">
                    <a:moveTo>
                      <a:pt x="0" y="2985"/>
                    </a:moveTo>
                    <a:cubicBezTo>
                      <a:pt x="265" y="830"/>
                      <a:pt x="926" y="-777"/>
                      <a:pt x="3592" y="395"/>
                    </a:cubicBezTo>
                    <a:cubicBezTo>
                      <a:pt x="2401" y="1264"/>
                      <a:pt x="1191" y="2115"/>
                      <a:pt x="0" y="298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2" name="Google Shape;752;p15"/>
              <p:cNvSpPr/>
              <p:nvPr/>
            </p:nvSpPr>
            <p:spPr>
              <a:xfrm>
                <a:off x="4352588" y="4490957"/>
                <a:ext cx="3266" cy="3553"/>
              </a:xfrm>
              <a:custGeom>
                <a:avLst/>
                <a:gdLst/>
                <a:ahLst/>
                <a:cxnLst/>
                <a:rect l="l" t="t" r="r" b="b"/>
                <a:pathLst>
                  <a:path w="3266" h="3553" extrusionOk="0">
                    <a:moveTo>
                      <a:pt x="71" y="3554"/>
                    </a:moveTo>
                    <a:cubicBezTo>
                      <a:pt x="-326" y="1059"/>
                      <a:pt x="960" y="76"/>
                      <a:pt x="3266" y="0"/>
                    </a:cubicBezTo>
                    <a:cubicBezTo>
                      <a:pt x="2208" y="1191"/>
                      <a:pt x="1130" y="2363"/>
                      <a:pt x="71" y="355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3" name="Google Shape;753;p15"/>
              <p:cNvSpPr/>
              <p:nvPr/>
            </p:nvSpPr>
            <p:spPr>
              <a:xfrm>
                <a:off x="4042289" y="4861748"/>
                <a:ext cx="3405" cy="317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3170" extrusionOk="0">
                    <a:moveTo>
                      <a:pt x="2" y="3171"/>
                    </a:moveTo>
                    <a:cubicBezTo>
                      <a:pt x="-54" y="827"/>
                      <a:pt x="910" y="-383"/>
                      <a:pt x="3405" y="108"/>
                    </a:cubicBezTo>
                    <a:cubicBezTo>
                      <a:pt x="2271" y="1129"/>
                      <a:pt x="1137" y="2150"/>
                      <a:pt x="2" y="317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4" name="Google Shape;754;p15"/>
              <p:cNvSpPr/>
              <p:nvPr/>
            </p:nvSpPr>
            <p:spPr>
              <a:xfrm>
                <a:off x="3959432" y="4933740"/>
                <a:ext cx="3045" cy="2957"/>
              </a:xfrm>
              <a:custGeom>
                <a:avLst/>
                <a:gdLst/>
                <a:ahLst/>
                <a:cxnLst/>
                <a:rect l="l" t="t" r="r" b="b"/>
                <a:pathLst>
                  <a:path w="3045" h="2957" extrusionOk="0">
                    <a:moveTo>
                      <a:pt x="97" y="2958"/>
                    </a:moveTo>
                    <a:cubicBezTo>
                      <a:pt x="-300" y="557"/>
                      <a:pt x="494" y="-559"/>
                      <a:pt x="3046" y="273"/>
                    </a:cubicBezTo>
                    <a:cubicBezTo>
                      <a:pt x="2063" y="1162"/>
                      <a:pt x="1080" y="2069"/>
                      <a:pt x="97" y="295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5" name="Google Shape;755;p15"/>
              <p:cNvSpPr/>
              <p:nvPr/>
            </p:nvSpPr>
            <p:spPr>
              <a:xfrm>
                <a:off x="3936570" y="4952521"/>
                <a:ext cx="3203" cy="3080"/>
              </a:xfrm>
              <a:custGeom>
                <a:avLst/>
                <a:gdLst/>
                <a:ahLst/>
                <a:cxnLst/>
                <a:rect l="l" t="t" r="r" b="b"/>
                <a:pathLst>
                  <a:path w="3203" h="3080" extrusionOk="0">
                    <a:moveTo>
                      <a:pt x="47" y="3080"/>
                    </a:moveTo>
                    <a:cubicBezTo>
                      <a:pt x="-218" y="661"/>
                      <a:pt x="614" y="-530"/>
                      <a:pt x="3204" y="226"/>
                    </a:cubicBezTo>
                    <a:cubicBezTo>
                      <a:pt x="2145" y="1171"/>
                      <a:pt x="1087" y="2135"/>
                      <a:pt x="47" y="308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6" name="Google Shape;756;p15"/>
              <p:cNvSpPr/>
              <p:nvPr/>
            </p:nvSpPr>
            <p:spPr>
              <a:xfrm>
                <a:off x="3887600" y="4990196"/>
                <a:ext cx="3231" cy="3176"/>
              </a:xfrm>
              <a:custGeom>
                <a:avLst/>
                <a:gdLst/>
                <a:ahLst/>
                <a:cxnLst/>
                <a:rect l="l" t="t" r="r" b="b"/>
                <a:pathLst>
                  <a:path w="3231" h="3176" extrusionOk="0">
                    <a:moveTo>
                      <a:pt x="93" y="3177"/>
                    </a:moveTo>
                    <a:cubicBezTo>
                      <a:pt x="-361" y="625"/>
                      <a:pt x="868" y="-245"/>
                      <a:pt x="3231" y="58"/>
                    </a:cubicBezTo>
                    <a:cubicBezTo>
                      <a:pt x="2192" y="1097"/>
                      <a:pt x="1133" y="2137"/>
                      <a:pt x="93" y="31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7" name="Google Shape;757;p15"/>
              <p:cNvSpPr/>
              <p:nvPr/>
            </p:nvSpPr>
            <p:spPr>
              <a:xfrm>
                <a:off x="3835040" y="5028649"/>
                <a:ext cx="2500" cy="2493"/>
              </a:xfrm>
              <a:custGeom>
                <a:avLst/>
                <a:gdLst/>
                <a:ahLst/>
                <a:cxnLst/>
                <a:rect l="l" t="t" r="r" b="b"/>
                <a:pathLst>
                  <a:path w="2500" h="2493" extrusionOk="0">
                    <a:moveTo>
                      <a:pt x="156" y="2494"/>
                    </a:moveTo>
                    <a:cubicBezTo>
                      <a:pt x="-278" y="339"/>
                      <a:pt x="100" y="-796"/>
                      <a:pt x="2500" y="641"/>
                    </a:cubicBezTo>
                    <a:cubicBezTo>
                      <a:pt x="1971" y="1567"/>
                      <a:pt x="1196" y="2191"/>
                      <a:pt x="156" y="249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8" name="Google Shape;758;p15"/>
              <p:cNvSpPr/>
              <p:nvPr/>
            </p:nvSpPr>
            <p:spPr>
              <a:xfrm>
                <a:off x="3731356" y="5096320"/>
                <a:ext cx="4215" cy="2991"/>
              </a:xfrm>
              <a:custGeom>
                <a:avLst/>
                <a:gdLst/>
                <a:ahLst/>
                <a:cxnLst/>
                <a:rect l="l" t="t" r="r" b="b"/>
                <a:pathLst>
                  <a:path w="4215" h="2991" extrusionOk="0">
                    <a:moveTo>
                      <a:pt x="0" y="2991"/>
                    </a:moveTo>
                    <a:cubicBezTo>
                      <a:pt x="775" y="1101"/>
                      <a:pt x="1607" y="-695"/>
                      <a:pt x="4216" y="269"/>
                    </a:cubicBezTo>
                    <a:cubicBezTo>
                      <a:pt x="2817" y="1176"/>
                      <a:pt x="1399" y="2084"/>
                      <a:pt x="0" y="299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9" name="Google Shape;759;p15"/>
              <p:cNvSpPr/>
              <p:nvPr/>
            </p:nvSpPr>
            <p:spPr>
              <a:xfrm>
                <a:off x="3712509" y="5107724"/>
                <a:ext cx="4120" cy="2910"/>
              </a:xfrm>
              <a:custGeom>
                <a:avLst/>
                <a:gdLst/>
                <a:ahLst/>
                <a:cxnLst/>
                <a:rect l="l" t="t" r="r" b="b"/>
                <a:pathLst>
                  <a:path w="4120" h="2910" extrusionOk="0">
                    <a:moveTo>
                      <a:pt x="0" y="2911"/>
                    </a:moveTo>
                    <a:cubicBezTo>
                      <a:pt x="756" y="1077"/>
                      <a:pt x="1531" y="-757"/>
                      <a:pt x="4121" y="321"/>
                    </a:cubicBezTo>
                    <a:cubicBezTo>
                      <a:pt x="2741" y="1190"/>
                      <a:pt x="1361" y="2060"/>
                      <a:pt x="0" y="291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0" name="Google Shape;760;p15"/>
              <p:cNvSpPr/>
              <p:nvPr/>
            </p:nvSpPr>
            <p:spPr>
              <a:xfrm>
                <a:off x="3694285" y="5118953"/>
                <a:ext cx="3478" cy="3043"/>
              </a:xfrm>
              <a:custGeom>
                <a:avLst/>
                <a:gdLst/>
                <a:ahLst/>
                <a:cxnLst/>
                <a:rect l="l" t="t" r="r" b="b"/>
                <a:pathLst>
                  <a:path w="3478" h="3043" extrusionOk="0">
                    <a:moveTo>
                      <a:pt x="0" y="3043"/>
                    </a:moveTo>
                    <a:cubicBezTo>
                      <a:pt x="114" y="813"/>
                      <a:pt x="851" y="-643"/>
                      <a:pt x="3478" y="283"/>
                    </a:cubicBezTo>
                    <a:cubicBezTo>
                      <a:pt x="2325" y="1210"/>
                      <a:pt x="1153" y="2117"/>
                      <a:pt x="0" y="3043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15"/>
              <p:cNvSpPr/>
              <p:nvPr/>
            </p:nvSpPr>
            <p:spPr>
              <a:xfrm>
                <a:off x="3667801" y="5134079"/>
                <a:ext cx="3478" cy="3021"/>
              </a:xfrm>
              <a:custGeom>
                <a:avLst/>
                <a:gdLst/>
                <a:ahLst/>
                <a:cxnLst/>
                <a:rect l="l" t="t" r="r" b="b"/>
                <a:pathLst>
                  <a:path w="3478" h="3021" extrusionOk="0">
                    <a:moveTo>
                      <a:pt x="0" y="3021"/>
                    </a:moveTo>
                    <a:cubicBezTo>
                      <a:pt x="151" y="809"/>
                      <a:pt x="851" y="-684"/>
                      <a:pt x="3478" y="318"/>
                    </a:cubicBezTo>
                    <a:cubicBezTo>
                      <a:pt x="2325" y="1225"/>
                      <a:pt x="1153" y="2114"/>
                      <a:pt x="0" y="302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2" name="Google Shape;762;p15"/>
              <p:cNvSpPr/>
              <p:nvPr/>
            </p:nvSpPr>
            <p:spPr>
              <a:xfrm>
                <a:off x="3626155" y="5156758"/>
                <a:ext cx="3535" cy="3008"/>
              </a:xfrm>
              <a:custGeom>
                <a:avLst/>
                <a:gdLst/>
                <a:ahLst/>
                <a:cxnLst/>
                <a:rect l="l" t="t" r="r" b="b"/>
                <a:pathLst>
                  <a:path w="3535" h="3008" extrusionOk="0">
                    <a:moveTo>
                      <a:pt x="0" y="3009"/>
                    </a:moveTo>
                    <a:cubicBezTo>
                      <a:pt x="208" y="816"/>
                      <a:pt x="889" y="-715"/>
                      <a:pt x="3535" y="343"/>
                    </a:cubicBezTo>
                    <a:cubicBezTo>
                      <a:pt x="2363" y="1232"/>
                      <a:pt x="1172" y="2120"/>
                      <a:pt x="0" y="3009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63" name="Google Shape;763;p15"/>
            <p:cNvSpPr/>
            <p:nvPr/>
          </p:nvSpPr>
          <p:spPr>
            <a:xfrm>
              <a:off x="1758382" y="5442342"/>
              <a:ext cx="1909419" cy="384129"/>
            </a:xfrm>
            <a:prstGeom prst="ellipse">
              <a:avLst/>
            </a:prstGeom>
            <a:solidFill>
              <a:srgbClr val="A5A5A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64" name="Google Shape;764;p15"/>
          <p:cNvGrpSpPr/>
          <p:nvPr/>
        </p:nvGrpSpPr>
        <p:grpSpPr>
          <a:xfrm>
            <a:off x="5700709" y="2214409"/>
            <a:ext cx="2113708" cy="2479105"/>
            <a:chOff x="967091" y="1613272"/>
            <a:chExt cx="3096214" cy="3631458"/>
          </a:xfrm>
        </p:grpSpPr>
        <p:grpSp>
          <p:nvGrpSpPr>
            <p:cNvPr id="765" name="Google Shape;765;p15"/>
            <p:cNvGrpSpPr/>
            <p:nvPr/>
          </p:nvGrpSpPr>
          <p:grpSpPr>
            <a:xfrm>
              <a:off x="967091" y="1613272"/>
              <a:ext cx="3096214" cy="3631458"/>
              <a:chOff x="750000" y="1470536"/>
              <a:chExt cx="3713910" cy="4355935"/>
            </a:xfrm>
          </p:grpSpPr>
          <p:grpSp>
            <p:nvGrpSpPr>
              <p:cNvPr id="766" name="Google Shape;766;p15"/>
              <p:cNvGrpSpPr/>
              <p:nvPr/>
            </p:nvGrpSpPr>
            <p:grpSpPr>
              <a:xfrm>
                <a:off x="750000" y="1470536"/>
                <a:ext cx="3713910" cy="3917588"/>
                <a:chOff x="750000" y="1470536"/>
                <a:chExt cx="3713910" cy="3917588"/>
              </a:xfrm>
            </p:grpSpPr>
            <p:sp>
              <p:nvSpPr>
                <p:cNvPr id="767" name="Google Shape;767;p15"/>
                <p:cNvSpPr/>
                <p:nvPr/>
              </p:nvSpPr>
              <p:spPr>
                <a:xfrm>
                  <a:off x="750000" y="1470536"/>
                  <a:ext cx="3713910" cy="39175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3910" h="3917588" extrusionOk="0">
                      <a:moveTo>
                        <a:pt x="3673777" y="1012557"/>
                      </a:moveTo>
                      <a:cubicBezTo>
                        <a:pt x="3682511" y="1025658"/>
                        <a:pt x="3690016" y="1039401"/>
                        <a:pt x="3695441" y="1054203"/>
                      </a:cubicBezTo>
                      <a:cubicBezTo>
                        <a:pt x="3697785" y="1060574"/>
                        <a:pt x="3700319" y="1066585"/>
                        <a:pt x="3705196" y="1071841"/>
                      </a:cubicBezTo>
                      <a:cubicBezTo>
                        <a:pt x="3709752" y="1076756"/>
                        <a:pt x="3712965" y="1083089"/>
                        <a:pt x="3713911" y="1090821"/>
                      </a:cubicBezTo>
                      <a:cubicBezTo>
                        <a:pt x="3682019" y="1108175"/>
                        <a:pt x="3648805" y="1122523"/>
                        <a:pt x="3616346" y="1138421"/>
                      </a:cubicBezTo>
                      <a:cubicBezTo>
                        <a:pt x="3549917" y="1170936"/>
                        <a:pt x="3483280" y="1203017"/>
                        <a:pt x="3417532" y="1236855"/>
                      </a:cubicBezTo>
                      <a:cubicBezTo>
                        <a:pt x="3373523" y="1259502"/>
                        <a:pt x="3329608" y="1282452"/>
                        <a:pt x="3284806" y="1303378"/>
                      </a:cubicBezTo>
                      <a:cubicBezTo>
                        <a:pt x="3203272" y="1341470"/>
                        <a:pt x="3122457" y="1381037"/>
                        <a:pt x="3042474" y="1422191"/>
                      </a:cubicBezTo>
                      <a:cubicBezTo>
                        <a:pt x="2998446" y="1444857"/>
                        <a:pt x="2954551" y="1467863"/>
                        <a:pt x="2909748" y="1488828"/>
                      </a:cubicBezTo>
                      <a:cubicBezTo>
                        <a:pt x="2830918" y="1525729"/>
                        <a:pt x="2752711" y="1563934"/>
                        <a:pt x="2675337" y="1603708"/>
                      </a:cubicBezTo>
                      <a:cubicBezTo>
                        <a:pt x="2634088" y="1624919"/>
                        <a:pt x="2593047" y="1646583"/>
                        <a:pt x="2551099" y="1666281"/>
                      </a:cubicBezTo>
                      <a:cubicBezTo>
                        <a:pt x="2469584" y="1704524"/>
                        <a:pt x="2388693" y="1744034"/>
                        <a:pt x="2308615" y="1785112"/>
                      </a:cubicBezTo>
                      <a:cubicBezTo>
                        <a:pt x="2270146" y="1804829"/>
                        <a:pt x="2231505" y="1824206"/>
                        <a:pt x="2192903" y="1843677"/>
                      </a:cubicBezTo>
                      <a:cubicBezTo>
                        <a:pt x="2167515" y="1856494"/>
                        <a:pt x="2141541" y="1868177"/>
                        <a:pt x="2115831" y="1880370"/>
                      </a:cubicBezTo>
                      <a:cubicBezTo>
                        <a:pt x="2113147" y="1878990"/>
                        <a:pt x="2112693" y="1880673"/>
                        <a:pt x="2112542" y="1882771"/>
                      </a:cubicBezTo>
                      <a:cubicBezTo>
                        <a:pt x="2111124" y="1883225"/>
                        <a:pt x="2109706" y="1883660"/>
                        <a:pt x="2108270" y="1884113"/>
                      </a:cubicBezTo>
                      <a:cubicBezTo>
                        <a:pt x="2105585" y="1882771"/>
                        <a:pt x="2105094" y="1884416"/>
                        <a:pt x="2104942" y="1886533"/>
                      </a:cubicBezTo>
                      <a:cubicBezTo>
                        <a:pt x="2103525" y="1886968"/>
                        <a:pt x="2102126" y="1887421"/>
                        <a:pt x="2100708" y="1887856"/>
                      </a:cubicBezTo>
                      <a:cubicBezTo>
                        <a:pt x="2098023" y="1886533"/>
                        <a:pt x="2097513" y="1888178"/>
                        <a:pt x="2097343" y="1890295"/>
                      </a:cubicBezTo>
                      <a:cubicBezTo>
                        <a:pt x="2095944" y="1890730"/>
                        <a:pt x="2094545" y="1891165"/>
                        <a:pt x="2093146" y="1891599"/>
                      </a:cubicBezTo>
                      <a:cubicBezTo>
                        <a:pt x="2090481" y="1890314"/>
                        <a:pt x="2089933" y="1891940"/>
                        <a:pt x="2089762" y="1894076"/>
                      </a:cubicBezTo>
                      <a:cubicBezTo>
                        <a:pt x="2088382" y="1894511"/>
                        <a:pt x="2086983" y="1894926"/>
                        <a:pt x="2085603" y="1895361"/>
                      </a:cubicBezTo>
                      <a:cubicBezTo>
                        <a:pt x="2082938" y="1894095"/>
                        <a:pt x="2082371" y="1895720"/>
                        <a:pt x="2082182" y="1897857"/>
                      </a:cubicBezTo>
                      <a:cubicBezTo>
                        <a:pt x="2080802" y="1898272"/>
                        <a:pt x="2079422" y="1898688"/>
                        <a:pt x="2078042" y="1899123"/>
                      </a:cubicBezTo>
                      <a:cubicBezTo>
                        <a:pt x="2075376" y="1897876"/>
                        <a:pt x="2074790" y="1899501"/>
                        <a:pt x="2074582" y="1901637"/>
                      </a:cubicBezTo>
                      <a:cubicBezTo>
                        <a:pt x="2073221" y="1902053"/>
                        <a:pt x="2071860" y="1902450"/>
                        <a:pt x="2070480" y="1902866"/>
                      </a:cubicBezTo>
                      <a:cubicBezTo>
                        <a:pt x="2067815" y="1901656"/>
                        <a:pt x="2067210" y="1903263"/>
                        <a:pt x="2066983" y="1905418"/>
                      </a:cubicBezTo>
                      <a:cubicBezTo>
                        <a:pt x="2065622" y="1905815"/>
                        <a:pt x="2064280" y="1906231"/>
                        <a:pt x="2062919" y="1906628"/>
                      </a:cubicBezTo>
                      <a:cubicBezTo>
                        <a:pt x="2060253" y="1905418"/>
                        <a:pt x="2059610" y="1907044"/>
                        <a:pt x="2059383" y="1909199"/>
                      </a:cubicBezTo>
                      <a:cubicBezTo>
                        <a:pt x="2058041" y="1909596"/>
                        <a:pt x="2056699" y="1909974"/>
                        <a:pt x="2055357" y="1910371"/>
                      </a:cubicBezTo>
                      <a:cubicBezTo>
                        <a:pt x="2052691" y="1909199"/>
                        <a:pt x="2052030" y="1910806"/>
                        <a:pt x="2051765" y="1912961"/>
                      </a:cubicBezTo>
                      <a:cubicBezTo>
                        <a:pt x="2022445" y="1924549"/>
                        <a:pt x="1994826" y="1939578"/>
                        <a:pt x="1967207" y="1954607"/>
                      </a:cubicBezTo>
                      <a:cubicBezTo>
                        <a:pt x="1965676" y="1955439"/>
                        <a:pt x="1964711" y="1957348"/>
                        <a:pt x="1963143" y="1959144"/>
                      </a:cubicBezTo>
                      <a:cubicBezTo>
                        <a:pt x="1967074" y="1964342"/>
                        <a:pt x="1973181" y="1965930"/>
                        <a:pt x="1978417" y="1968558"/>
                      </a:cubicBezTo>
                      <a:cubicBezTo>
                        <a:pt x="2169368" y="2064534"/>
                        <a:pt x="2360337" y="2160435"/>
                        <a:pt x="2551345" y="2256279"/>
                      </a:cubicBezTo>
                      <a:cubicBezTo>
                        <a:pt x="2728022" y="2344939"/>
                        <a:pt x="2904738" y="2433486"/>
                        <a:pt x="3081416" y="2522147"/>
                      </a:cubicBezTo>
                      <a:cubicBezTo>
                        <a:pt x="3178489" y="2570862"/>
                        <a:pt x="3275467" y="2619786"/>
                        <a:pt x="3372521" y="2668521"/>
                      </a:cubicBezTo>
                      <a:cubicBezTo>
                        <a:pt x="3478838" y="2721906"/>
                        <a:pt x="3585211" y="2775216"/>
                        <a:pt x="3691547" y="2828545"/>
                      </a:cubicBezTo>
                      <a:cubicBezTo>
                        <a:pt x="3694364" y="2829962"/>
                        <a:pt x="3697067" y="2831645"/>
                        <a:pt x="3699997" y="2832760"/>
                      </a:cubicBezTo>
                      <a:cubicBezTo>
                        <a:pt x="3708561" y="2836031"/>
                        <a:pt x="3709373" y="2840719"/>
                        <a:pt x="3704912" y="2848696"/>
                      </a:cubicBezTo>
                      <a:cubicBezTo>
                        <a:pt x="3688995" y="2877204"/>
                        <a:pt x="3674306" y="2906411"/>
                        <a:pt x="3658011" y="2934691"/>
                      </a:cubicBezTo>
                      <a:cubicBezTo>
                        <a:pt x="3641300" y="2963690"/>
                        <a:pt x="3623265" y="2991914"/>
                        <a:pt x="3605817" y="3020478"/>
                      </a:cubicBezTo>
                      <a:cubicBezTo>
                        <a:pt x="3603510" y="3020554"/>
                        <a:pt x="3602225" y="3021537"/>
                        <a:pt x="3602622" y="3024032"/>
                      </a:cubicBezTo>
                      <a:cubicBezTo>
                        <a:pt x="3585986" y="3050063"/>
                        <a:pt x="3568708" y="3075640"/>
                        <a:pt x="3550503" y="3100632"/>
                      </a:cubicBezTo>
                      <a:cubicBezTo>
                        <a:pt x="3539482" y="3115774"/>
                        <a:pt x="3529539" y="3131805"/>
                        <a:pt x="3517610" y="3146247"/>
                      </a:cubicBezTo>
                      <a:cubicBezTo>
                        <a:pt x="3500691" y="3166758"/>
                        <a:pt x="3484036" y="3187534"/>
                        <a:pt x="3467136" y="3208007"/>
                      </a:cubicBezTo>
                      <a:cubicBezTo>
                        <a:pt x="3447684" y="3231581"/>
                        <a:pt x="3427608" y="3254606"/>
                        <a:pt x="3407683" y="3277744"/>
                      </a:cubicBezTo>
                      <a:cubicBezTo>
                        <a:pt x="3392654" y="3295193"/>
                        <a:pt x="3376396" y="3311640"/>
                        <a:pt x="3360158" y="3328010"/>
                      </a:cubicBezTo>
                      <a:cubicBezTo>
                        <a:pt x="3338928" y="3349391"/>
                        <a:pt x="3317189" y="3370261"/>
                        <a:pt x="3295676" y="3391358"/>
                      </a:cubicBezTo>
                      <a:cubicBezTo>
                        <a:pt x="3293180" y="3390886"/>
                        <a:pt x="3292216" y="3392096"/>
                        <a:pt x="3292273" y="3394421"/>
                      </a:cubicBezTo>
                      <a:cubicBezTo>
                        <a:pt x="3266091" y="3417938"/>
                        <a:pt x="3240646" y="3442305"/>
                        <a:pt x="3212441" y="3463515"/>
                      </a:cubicBezTo>
                      <a:cubicBezTo>
                        <a:pt x="3209889" y="3462702"/>
                        <a:pt x="3209114" y="3463818"/>
                        <a:pt x="3209492" y="3466200"/>
                      </a:cubicBezTo>
                      <a:cubicBezTo>
                        <a:pt x="3203764" y="3472589"/>
                        <a:pt x="3197109" y="3477864"/>
                        <a:pt x="3189756" y="3482249"/>
                      </a:cubicBezTo>
                      <a:cubicBezTo>
                        <a:pt x="3187147" y="3481493"/>
                        <a:pt x="3186334" y="3482684"/>
                        <a:pt x="3186599" y="3485104"/>
                      </a:cubicBezTo>
                      <a:cubicBezTo>
                        <a:pt x="3172591" y="3498318"/>
                        <a:pt x="3154254" y="3505785"/>
                        <a:pt x="3140813" y="3519736"/>
                      </a:cubicBezTo>
                      <a:cubicBezTo>
                        <a:pt x="3138450" y="3519453"/>
                        <a:pt x="3137221" y="3520303"/>
                        <a:pt x="3137675" y="3522855"/>
                      </a:cubicBezTo>
                      <a:cubicBezTo>
                        <a:pt x="3126786" y="3534708"/>
                        <a:pt x="3110756" y="3539132"/>
                        <a:pt x="3098789" y="3549699"/>
                      </a:cubicBezTo>
                      <a:cubicBezTo>
                        <a:pt x="3095330" y="3552762"/>
                        <a:pt x="3092040" y="3556731"/>
                        <a:pt x="3087522" y="3558773"/>
                      </a:cubicBezTo>
                      <a:cubicBezTo>
                        <a:pt x="3085121" y="3557355"/>
                        <a:pt x="3084743" y="3558471"/>
                        <a:pt x="3085178" y="3560626"/>
                      </a:cubicBezTo>
                      <a:cubicBezTo>
                        <a:pt x="3071907" y="3573745"/>
                        <a:pt x="3053381" y="3578906"/>
                        <a:pt x="3039525" y="3591269"/>
                      </a:cubicBezTo>
                      <a:cubicBezTo>
                        <a:pt x="3023399" y="3605655"/>
                        <a:pt x="3003021" y="3613652"/>
                        <a:pt x="2985553" y="3626053"/>
                      </a:cubicBezTo>
                      <a:cubicBezTo>
                        <a:pt x="2982945" y="3625108"/>
                        <a:pt x="2982113" y="3626904"/>
                        <a:pt x="2981338" y="3628775"/>
                      </a:cubicBezTo>
                      <a:cubicBezTo>
                        <a:pt x="2976442" y="3631686"/>
                        <a:pt x="2971527" y="3634598"/>
                        <a:pt x="2966630" y="3637509"/>
                      </a:cubicBezTo>
                      <a:cubicBezTo>
                        <a:pt x="2964040" y="3636450"/>
                        <a:pt x="2963266" y="3638265"/>
                        <a:pt x="2962509" y="3640099"/>
                      </a:cubicBezTo>
                      <a:cubicBezTo>
                        <a:pt x="2957594" y="3642953"/>
                        <a:pt x="2952679" y="3645827"/>
                        <a:pt x="2947764" y="3648681"/>
                      </a:cubicBezTo>
                      <a:cubicBezTo>
                        <a:pt x="2945136" y="3647755"/>
                        <a:pt x="2944399" y="3649211"/>
                        <a:pt x="2944286" y="3651441"/>
                      </a:cubicBezTo>
                      <a:cubicBezTo>
                        <a:pt x="2936762" y="3655846"/>
                        <a:pt x="2929994" y="3661649"/>
                        <a:pt x="2921279" y="3663861"/>
                      </a:cubicBezTo>
                      <a:cubicBezTo>
                        <a:pt x="2918633" y="3662859"/>
                        <a:pt x="2917933" y="3664353"/>
                        <a:pt x="2917801" y="3666565"/>
                      </a:cubicBezTo>
                      <a:cubicBezTo>
                        <a:pt x="2905097" y="3673238"/>
                        <a:pt x="2892394" y="3679892"/>
                        <a:pt x="2879690" y="3686565"/>
                      </a:cubicBezTo>
                      <a:cubicBezTo>
                        <a:pt x="2877044" y="3685506"/>
                        <a:pt x="2876344" y="3687038"/>
                        <a:pt x="2876155" y="3689231"/>
                      </a:cubicBezTo>
                      <a:cubicBezTo>
                        <a:pt x="2848234" y="3706074"/>
                        <a:pt x="2819027" y="3720101"/>
                        <a:pt x="2788459" y="3731670"/>
                      </a:cubicBezTo>
                      <a:cubicBezTo>
                        <a:pt x="2773090" y="3737493"/>
                        <a:pt x="2758647" y="3745848"/>
                        <a:pt x="2743675" y="3752824"/>
                      </a:cubicBezTo>
                      <a:cubicBezTo>
                        <a:pt x="2706434" y="3770159"/>
                        <a:pt x="2667964" y="3784054"/>
                        <a:pt x="2629778" y="3798818"/>
                      </a:cubicBezTo>
                      <a:cubicBezTo>
                        <a:pt x="2607830" y="3807306"/>
                        <a:pt x="2585126" y="3813922"/>
                        <a:pt x="2563235" y="3822542"/>
                      </a:cubicBezTo>
                      <a:cubicBezTo>
                        <a:pt x="2541949" y="3830917"/>
                        <a:pt x="2519737" y="3835927"/>
                        <a:pt x="2497884" y="3842052"/>
                      </a:cubicBezTo>
                      <a:cubicBezTo>
                        <a:pt x="2459225" y="3852846"/>
                        <a:pt x="2420490" y="3863205"/>
                        <a:pt x="2381188" y="3871901"/>
                      </a:cubicBezTo>
                      <a:cubicBezTo>
                        <a:pt x="2347955" y="3879255"/>
                        <a:pt x="2314476" y="3884510"/>
                        <a:pt x="2281186" y="3891127"/>
                      </a:cubicBezTo>
                      <a:cubicBezTo>
                        <a:pt x="2227082" y="3901883"/>
                        <a:pt x="2172222" y="3906779"/>
                        <a:pt x="2117419" y="3911354"/>
                      </a:cubicBezTo>
                      <a:cubicBezTo>
                        <a:pt x="2013465" y="3920031"/>
                        <a:pt x="1909360" y="3919105"/>
                        <a:pt x="1805350" y="3911940"/>
                      </a:cubicBezTo>
                      <a:cubicBezTo>
                        <a:pt x="1764857" y="3909142"/>
                        <a:pt x="1724289" y="3905475"/>
                        <a:pt x="1684174" y="3899955"/>
                      </a:cubicBezTo>
                      <a:cubicBezTo>
                        <a:pt x="1652018" y="3895531"/>
                        <a:pt x="1619692" y="3890163"/>
                        <a:pt x="1587763" y="3882922"/>
                      </a:cubicBezTo>
                      <a:cubicBezTo>
                        <a:pt x="1551165" y="3874642"/>
                        <a:pt x="1513943" y="3868650"/>
                        <a:pt x="1477703" y="3858914"/>
                      </a:cubicBezTo>
                      <a:cubicBezTo>
                        <a:pt x="1449990" y="3851466"/>
                        <a:pt x="1422333" y="3843564"/>
                        <a:pt x="1394884" y="3834963"/>
                      </a:cubicBezTo>
                      <a:cubicBezTo>
                        <a:pt x="1373277" y="3828195"/>
                        <a:pt x="1350819" y="3823752"/>
                        <a:pt x="1329646" y="3815699"/>
                      </a:cubicBezTo>
                      <a:cubicBezTo>
                        <a:pt x="1262499" y="3790179"/>
                        <a:pt x="1195692" y="3763845"/>
                        <a:pt x="1130227" y="3734166"/>
                      </a:cubicBezTo>
                      <a:cubicBezTo>
                        <a:pt x="1093590" y="3717568"/>
                        <a:pt x="1058240" y="3698683"/>
                        <a:pt x="1022776" y="3679798"/>
                      </a:cubicBezTo>
                      <a:cubicBezTo>
                        <a:pt x="956025" y="3644239"/>
                        <a:pt x="892734" y="3603330"/>
                        <a:pt x="830823" y="3560172"/>
                      </a:cubicBezTo>
                      <a:cubicBezTo>
                        <a:pt x="725168" y="3486559"/>
                        <a:pt x="628284" y="3402512"/>
                        <a:pt x="539586" y="3309352"/>
                      </a:cubicBezTo>
                      <a:cubicBezTo>
                        <a:pt x="457996" y="3223660"/>
                        <a:pt x="384856" y="3130992"/>
                        <a:pt x="320034" y="3031859"/>
                      </a:cubicBezTo>
                      <a:cubicBezTo>
                        <a:pt x="292471" y="2989721"/>
                        <a:pt x="266800" y="2946469"/>
                        <a:pt x="242186" y="2902573"/>
                      </a:cubicBezTo>
                      <a:cubicBezTo>
                        <a:pt x="214889" y="2853895"/>
                        <a:pt x="191296" y="2803402"/>
                        <a:pt x="167836" y="2752815"/>
                      </a:cubicBezTo>
                      <a:cubicBezTo>
                        <a:pt x="150842" y="2716216"/>
                        <a:pt x="135208" y="2678956"/>
                        <a:pt x="121654" y="2641129"/>
                      </a:cubicBezTo>
                      <a:cubicBezTo>
                        <a:pt x="112731" y="2616176"/>
                        <a:pt x="99649" y="2592678"/>
                        <a:pt x="93732" y="2566836"/>
                      </a:cubicBezTo>
                      <a:cubicBezTo>
                        <a:pt x="80291" y="2508101"/>
                        <a:pt x="60990" y="2450935"/>
                        <a:pt x="47984" y="2392048"/>
                      </a:cubicBezTo>
                      <a:cubicBezTo>
                        <a:pt x="30082" y="2311063"/>
                        <a:pt x="16566" y="2229454"/>
                        <a:pt x="9212" y="2146843"/>
                      </a:cubicBezTo>
                      <a:cubicBezTo>
                        <a:pt x="8550" y="2139338"/>
                        <a:pt x="7000" y="2131909"/>
                        <a:pt x="5866" y="2124461"/>
                      </a:cubicBezTo>
                      <a:cubicBezTo>
                        <a:pt x="7170" y="2120755"/>
                        <a:pt x="7473" y="2117201"/>
                        <a:pt x="4183" y="2114252"/>
                      </a:cubicBezTo>
                      <a:cubicBezTo>
                        <a:pt x="7227" y="2104195"/>
                        <a:pt x="4032" y="2094270"/>
                        <a:pt x="3484" y="2084327"/>
                      </a:cubicBezTo>
                      <a:cubicBezTo>
                        <a:pt x="-3454" y="1958274"/>
                        <a:pt x="-410" y="1832618"/>
                        <a:pt x="16055" y="1707284"/>
                      </a:cubicBezTo>
                      <a:cubicBezTo>
                        <a:pt x="19874" y="1678247"/>
                        <a:pt x="22312" y="1648625"/>
                        <a:pt x="27851" y="1620193"/>
                      </a:cubicBezTo>
                      <a:cubicBezTo>
                        <a:pt x="41311" y="1550928"/>
                        <a:pt x="57285" y="1482060"/>
                        <a:pt x="76964" y="1414119"/>
                      </a:cubicBezTo>
                      <a:cubicBezTo>
                        <a:pt x="88987" y="1372643"/>
                        <a:pt x="102390" y="1331584"/>
                        <a:pt x="116474" y="1290864"/>
                      </a:cubicBezTo>
                      <a:cubicBezTo>
                        <a:pt x="134792" y="1237932"/>
                        <a:pt x="157553" y="1186589"/>
                        <a:pt x="181372" y="1135831"/>
                      </a:cubicBezTo>
                      <a:cubicBezTo>
                        <a:pt x="190881" y="1115566"/>
                        <a:pt x="197459" y="1094110"/>
                        <a:pt x="208329" y="1074393"/>
                      </a:cubicBezTo>
                      <a:cubicBezTo>
                        <a:pt x="281942" y="940930"/>
                        <a:pt x="362511" y="812193"/>
                        <a:pt x="461758" y="695857"/>
                      </a:cubicBezTo>
                      <a:cubicBezTo>
                        <a:pt x="481191" y="673096"/>
                        <a:pt x="499963" y="649466"/>
                        <a:pt x="520398" y="627896"/>
                      </a:cubicBezTo>
                      <a:cubicBezTo>
                        <a:pt x="543650" y="603359"/>
                        <a:pt x="567791" y="579369"/>
                        <a:pt x="592158" y="555739"/>
                      </a:cubicBezTo>
                      <a:cubicBezTo>
                        <a:pt x="715602" y="435944"/>
                        <a:pt x="852204" y="333805"/>
                        <a:pt x="1002454" y="250041"/>
                      </a:cubicBezTo>
                      <a:cubicBezTo>
                        <a:pt x="1028806" y="235352"/>
                        <a:pt x="1054837" y="220191"/>
                        <a:pt x="1082135" y="206958"/>
                      </a:cubicBezTo>
                      <a:cubicBezTo>
                        <a:pt x="1164746" y="166881"/>
                        <a:pt x="1249398" y="132249"/>
                        <a:pt x="1336149" y="102210"/>
                      </a:cubicBezTo>
                      <a:cubicBezTo>
                        <a:pt x="1375016" y="88751"/>
                        <a:pt x="1414431" y="77011"/>
                        <a:pt x="1453846" y="65877"/>
                      </a:cubicBezTo>
                      <a:cubicBezTo>
                        <a:pt x="1504642" y="51509"/>
                        <a:pt x="1556571" y="40205"/>
                        <a:pt x="1608652" y="31471"/>
                      </a:cubicBezTo>
                      <a:cubicBezTo>
                        <a:pt x="1762154" y="5761"/>
                        <a:pt x="1916619" y="-6772"/>
                        <a:pt x="2072427" y="3701"/>
                      </a:cubicBezTo>
                      <a:cubicBezTo>
                        <a:pt x="2114565" y="6536"/>
                        <a:pt x="2156645" y="9486"/>
                        <a:pt x="2198480" y="15270"/>
                      </a:cubicBezTo>
                      <a:cubicBezTo>
                        <a:pt x="2235551" y="20393"/>
                        <a:pt x="2273038" y="23701"/>
                        <a:pt x="2309523" y="31584"/>
                      </a:cubicBezTo>
                      <a:cubicBezTo>
                        <a:pt x="2337217" y="37577"/>
                        <a:pt x="2364893" y="44080"/>
                        <a:pt x="2392720" y="49487"/>
                      </a:cubicBezTo>
                      <a:cubicBezTo>
                        <a:pt x="2426407" y="56009"/>
                        <a:pt x="2459300" y="65461"/>
                        <a:pt x="2492231" y="74648"/>
                      </a:cubicBezTo>
                      <a:cubicBezTo>
                        <a:pt x="2530342" y="85291"/>
                        <a:pt x="2567923" y="98014"/>
                        <a:pt x="2605372" y="110831"/>
                      </a:cubicBezTo>
                      <a:cubicBezTo>
                        <a:pt x="2768591" y="166711"/>
                        <a:pt x="2920863" y="244350"/>
                        <a:pt x="3063514" y="341272"/>
                      </a:cubicBezTo>
                      <a:cubicBezTo>
                        <a:pt x="3175426" y="417304"/>
                        <a:pt x="3278114" y="504188"/>
                        <a:pt x="3371916" y="601563"/>
                      </a:cubicBezTo>
                      <a:cubicBezTo>
                        <a:pt x="3477212" y="710885"/>
                        <a:pt x="3568557" y="830908"/>
                        <a:pt x="3645515" y="961762"/>
                      </a:cubicBezTo>
                      <a:cubicBezTo>
                        <a:pt x="3654684" y="977339"/>
                        <a:pt x="3665421" y="992217"/>
                        <a:pt x="3671112" y="1009703"/>
                      </a:cubicBezTo>
                      <a:cubicBezTo>
                        <a:pt x="3670545" y="1012085"/>
                        <a:pt x="3671527" y="1012973"/>
                        <a:pt x="3673853" y="1012557"/>
                      </a:cubicBezTo>
                      <a:close/>
                    </a:path>
                  </a:pathLst>
                </a:custGeom>
                <a:solidFill>
                  <a:srgbClr val="00BEF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68" name="Google Shape;768;p15"/>
                <p:cNvSpPr/>
                <p:nvPr/>
              </p:nvSpPr>
              <p:spPr>
                <a:xfrm>
                  <a:off x="752928" y="3584769"/>
                  <a:ext cx="3820" cy="102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0" h="10208" extrusionOk="0">
                      <a:moveTo>
                        <a:pt x="1217" y="0"/>
                      </a:moveTo>
                      <a:cubicBezTo>
                        <a:pt x="4506" y="2949"/>
                        <a:pt x="4204" y="6503"/>
                        <a:pt x="2899" y="10208"/>
                      </a:cubicBezTo>
                      <a:cubicBezTo>
                        <a:pt x="-673" y="7297"/>
                        <a:pt x="-579" y="3781"/>
                        <a:pt x="1217" y="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69" name="Google Shape;769;p15"/>
                <p:cNvSpPr/>
                <p:nvPr/>
              </p:nvSpPr>
              <p:spPr>
                <a:xfrm>
                  <a:off x="4420879" y="2480239"/>
                  <a:ext cx="2898" cy="2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8" h="2953" extrusionOk="0">
                      <a:moveTo>
                        <a:pt x="2898" y="2855"/>
                      </a:moveTo>
                      <a:cubicBezTo>
                        <a:pt x="573" y="3270"/>
                        <a:pt x="-410" y="2382"/>
                        <a:pt x="157" y="0"/>
                      </a:cubicBezTo>
                      <a:cubicBezTo>
                        <a:pt x="1064" y="945"/>
                        <a:pt x="1991" y="1890"/>
                        <a:pt x="2898" y="285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0" name="Google Shape;770;p15"/>
                <p:cNvSpPr/>
                <p:nvPr/>
              </p:nvSpPr>
              <p:spPr>
                <a:xfrm>
                  <a:off x="2862542" y="3350385"/>
                  <a:ext cx="3289" cy="29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9" h="2903" extrusionOk="0">
                      <a:moveTo>
                        <a:pt x="0" y="2903"/>
                      </a:moveTo>
                      <a:cubicBezTo>
                        <a:pt x="151" y="805"/>
                        <a:pt x="605" y="-878"/>
                        <a:pt x="3289" y="502"/>
                      </a:cubicBezTo>
                      <a:cubicBezTo>
                        <a:pt x="2193" y="1296"/>
                        <a:pt x="1096" y="2090"/>
                        <a:pt x="0" y="29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1" name="Google Shape;771;p15"/>
                <p:cNvSpPr/>
                <p:nvPr/>
              </p:nvSpPr>
              <p:spPr>
                <a:xfrm>
                  <a:off x="2854961" y="3354136"/>
                  <a:ext cx="3327" cy="29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27" h="2913" extrusionOk="0">
                      <a:moveTo>
                        <a:pt x="0" y="2914"/>
                      </a:moveTo>
                      <a:cubicBezTo>
                        <a:pt x="151" y="796"/>
                        <a:pt x="643" y="-867"/>
                        <a:pt x="3327" y="494"/>
                      </a:cubicBezTo>
                      <a:cubicBezTo>
                        <a:pt x="2212" y="1307"/>
                        <a:pt x="1115" y="2120"/>
                        <a:pt x="0" y="291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2" name="Google Shape;772;p15"/>
                <p:cNvSpPr/>
                <p:nvPr/>
              </p:nvSpPr>
              <p:spPr>
                <a:xfrm>
                  <a:off x="2847361" y="3357917"/>
                  <a:ext cx="3364" cy="29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2913" extrusionOk="0">
                      <a:moveTo>
                        <a:pt x="0" y="2914"/>
                      </a:moveTo>
                      <a:cubicBezTo>
                        <a:pt x="170" y="796"/>
                        <a:pt x="681" y="-848"/>
                        <a:pt x="3365" y="475"/>
                      </a:cubicBezTo>
                      <a:cubicBezTo>
                        <a:pt x="2250" y="1288"/>
                        <a:pt x="1115" y="2101"/>
                        <a:pt x="0" y="291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3" name="Google Shape;773;p15"/>
                <p:cNvSpPr/>
                <p:nvPr/>
              </p:nvSpPr>
              <p:spPr>
                <a:xfrm>
                  <a:off x="2839781" y="3361660"/>
                  <a:ext cx="3383" cy="29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83" h="2932" extrusionOk="0">
                      <a:moveTo>
                        <a:pt x="0" y="2932"/>
                      </a:moveTo>
                      <a:cubicBezTo>
                        <a:pt x="170" y="796"/>
                        <a:pt x="718" y="-830"/>
                        <a:pt x="3384" y="456"/>
                      </a:cubicBezTo>
                      <a:cubicBezTo>
                        <a:pt x="2250" y="1288"/>
                        <a:pt x="1115" y="2101"/>
                        <a:pt x="0" y="29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4" name="Google Shape;774;p15"/>
                <p:cNvSpPr/>
                <p:nvPr/>
              </p:nvSpPr>
              <p:spPr>
                <a:xfrm>
                  <a:off x="2832181" y="3365433"/>
                  <a:ext cx="3421" cy="29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1" h="2940" extrusionOk="0">
                      <a:moveTo>
                        <a:pt x="0" y="2940"/>
                      </a:moveTo>
                      <a:cubicBezTo>
                        <a:pt x="189" y="804"/>
                        <a:pt x="756" y="-821"/>
                        <a:pt x="3422" y="445"/>
                      </a:cubicBezTo>
                      <a:cubicBezTo>
                        <a:pt x="2288" y="1277"/>
                        <a:pt x="1134" y="2109"/>
                        <a:pt x="0" y="29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5" name="Google Shape;775;p15"/>
                <p:cNvSpPr/>
                <p:nvPr/>
              </p:nvSpPr>
              <p:spPr>
                <a:xfrm>
                  <a:off x="2824601" y="3369187"/>
                  <a:ext cx="3459" cy="2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9" h="2948" extrusionOk="0">
                      <a:moveTo>
                        <a:pt x="0" y="2949"/>
                      </a:moveTo>
                      <a:cubicBezTo>
                        <a:pt x="208" y="812"/>
                        <a:pt x="794" y="-813"/>
                        <a:pt x="3460" y="435"/>
                      </a:cubicBezTo>
                      <a:cubicBezTo>
                        <a:pt x="2306" y="1266"/>
                        <a:pt x="1153" y="2117"/>
                        <a:pt x="0" y="29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6" name="Google Shape;776;p15"/>
                <p:cNvSpPr/>
                <p:nvPr/>
              </p:nvSpPr>
              <p:spPr>
                <a:xfrm>
                  <a:off x="2817002" y="3372948"/>
                  <a:ext cx="3497" cy="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7" h="2967" extrusionOk="0">
                      <a:moveTo>
                        <a:pt x="0" y="2968"/>
                      </a:moveTo>
                      <a:cubicBezTo>
                        <a:pt x="227" y="813"/>
                        <a:pt x="832" y="-794"/>
                        <a:pt x="3497" y="416"/>
                      </a:cubicBezTo>
                      <a:cubicBezTo>
                        <a:pt x="2325" y="1266"/>
                        <a:pt x="1172" y="2117"/>
                        <a:pt x="0" y="29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7" name="Google Shape;777;p15"/>
                <p:cNvSpPr/>
                <p:nvPr/>
              </p:nvSpPr>
              <p:spPr>
                <a:xfrm>
                  <a:off x="2809402" y="3376702"/>
                  <a:ext cx="3535" cy="29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5" h="2976" extrusionOk="0">
                      <a:moveTo>
                        <a:pt x="0" y="2976"/>
                      </a:moveTo>
                      <a:cubicBezTo>
                        <a:pt x="246" y="821"/>
                        <a:pt x="870" y="-786"/>
                        <a:pt x="3535" y="405"/>
                      </a:cubicBezTo>
                      <a:cubicBezTo>
                        <a:pt x="2363" y="1256"/>
                        <a:pt x="1172" y="2107"/>
                        <a:pt x="0" y="29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8" name="Google Shape;778;p15"/>
                <p:cNvSpPr/>
                <p:nvPr/>
              </p:nvSpPr>
              <p:spPr>
                <a:xfrm>
                  <a:off x="2801803" y="3380455"/>
                  <a:ext cx="3591" cy="29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91" h="2984" extrusionOk="0">
                      <a:moveTo>
                        <a:pt x="0" y="2985"/>
                      </a:moveTo>
                      <a:cubicBezTo>
                        <a:pt x="265" y="830"/>
                        <a:pt x="926" y="-777"/>
                        <a:pt x="3592" y="395"/>
                      </a:cubicBezTo>
                      <a:cubicBezTo>
                        <a:pt x="2401" y="1264"/>
                        <a:pt x="1191" y="2115"/>
                        <a:pt x="0" y="298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79" name="Google Shape;779;p15"/>
                <p:cNvSpPr/>
                <p:nvPr/>
              </p:nvSpPr>
              <p:spPr>
                <a:xfrm>
                  <a:off x="4352588" y="4490957"/>
                  <a:ext cx="3266" cy="35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6" h="3553" extrusionOk="0">
                      <a:moveTo>
                        <a:pt x="71" y="3554"/>
                      </a:moveTo>
                      <a:cubicBezTo>
                        <a:pt x="-326" y="1059"/>
                        <a:pt x="960" y="76"/>
                        <a:pt x="3266" y="0"/>
                      </a:cubicBezTo>
                      <a:cubicBezTo>
                        <a:pt x="2208" y="1191"/>
                        <a:pt x="1130" y="2363"/>
                        <a:pt x="71" y="355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0" name="Google Shape;780;p15"/>
                <p:cNvSpPr/>
                <p:nvPr/>
              </p:nvSpPr>
              <p:spPr>
                <a:xfrm>
                  <a:off x="4042289" y="4861748"/>
                  <a:ext cx="3405" cy="31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5" h="3170" extrusionOk="0">
                      <a:moveTo>
                        <a:pt x="2" y="3171"/>
                      </a:moveTo>
                      <a:cubicBezTo>
                        <a:pt x="-54" y="827"/>
                        <a:pt x="910" y="-383"/>
                        <a:pt x="3405" y="108"/>
                      </a:cubicBezTo>
                      <a:cubicBezTo>
                        <a:pt x="2271" y="1129"/>
                        <a:pt x="1137" y="2150"/>
                        <a:pt x="2" y="317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1" name="Google Shape;781;p15"/>
                <p:cNvSpPr/>
                <p:nvPr/>
              </p:nvSpPr>
              <p:spPr>
                <a:xfrm>
                  <a:off x="3959432" y="4933740"/>
                  <a:ext cx="3045" cy="2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45" h="2957" extrusionOk="0">
                      <a:moveTo>
                        <a:pt x="97" y="2958"/>
                      </a:moveTo>
                      <a:cubicBezTo>
                        <a:pt x="-300" y="557"/>
                        <a:pt x="494" y="-559"/>
                        <a:pt x="3046" y="273"/>
                      </a:cubicBezTo>
                      <a:cubicBezTo>
                        <a:pt x="2063" y="1162"/>
                        <a:pt x="1080" y="2069"/>
                        <a:pt x="97" y="29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2" name="Google Shape;782;p15"/>
                <p:cNvSpPr/>
                <p:nvPr/>
              </p:nvSpPr>
              <p:spPr>
                <a:xfrm>
                  <a:off x="3936570" y="4952521"/>
                  <a:ext cx="3203" cy="30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03" h="3080" extrusionOk="0">
                      <a:moveTo>
                        <a:pt x="47" y="3080"/>
                      </a:moveTo>
                      <a:cubicBezTo>
                        <a:pt x="-218" y="661"/>
                        <a:pt x="614" y="-530"/>
                        <a:pt x="3204" y="226"/>
                      </a:cubicBezTo>
                      <a:cubicBezTo>
                        <a:pt x="2145" y="1171"/>
                        <a:pt x="1087" y="2135"/>
                        <a:pt x="47" y="30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3" name="Google Shape;783;p15"/>
                <p:cNvSpPr/>
                <p:nvPr/>
              </p:nvSpPr>
              <p:spPr>
                <a:xfrm>
                  <a:off x="3887600" y="4990196"/>
                  <a:ext cx="3231" cy="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1" h="3176" extrusionOk="0">
                      <a:moveTo>
                        <a:pt x="93" y="3177"/>
                      </a:moveTo>
                      <a:cubicBezTo>
                        <a:pt x="-361" y="625"/>
                        <a:pt x="868" y="-245"/>
                        <a:pt x="3231" y="58"/>
                      </a:cubicBezTo>
                      <a:cubicBezTo>
                        <a:pt x="2192" y="1097"/>
                        <a:pt x="1133" y="2137"/>
                        <a:pt x="93" y="31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4" name="Google Shape;784;p15"/>
                <p:cNvSpPr/>
                <p:nvPr/>
              </p:nvSpPr>
              <p:spPr>
                <a:xfrm>
                  <a:off x="3835040" y="5028649"/>
                  <a:ext cx="2500" cy="24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0" h="2493" extrusionOk="0">
                      <a:moveTo>
                        <a:pt x="156" y="2494"/>
                      </a:moveTo>
                      <a:cubicBezTo>
                        <a:pt x="-278" y="339"/>
                        <a:pt x="100" y="-796"/>
                        <a:pt x="2500" y="641"/>
                      </a:cubicBezTo>
                      <a:cubicBezTo>
                        <a:pt x="1971" y="1567"/>
                        <a:pt x="1196" y="2191"/>
                        <a:pt x="156" y="24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5" name="Google Shape;785;p15"/>
                <p:cNvSpPr/>
                <p:nvPr/>
              </p:nvSpPr>
              <p:spPr>
                <a:xfrm>
                  <a:off x="3731356" y="5096320"/>
                  <a:ext cx="4215" cy="29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5" h="2991" extrusionOk="0">
                      <a:moveTo>
                        <a:pt x="0" y="2991"/>
                      </a:moveTo>
                      <a:cubicBezTo>
                        <a:pt x="775" y="1101"/>
                        <a:pt x="1607" y="-695"/>
                        <a:pt x="4216" y="269"/>
                      </a:cubicBezTo>
                      <a:cubicBezTo>
                        <a:pt x="2817" y="1176"/>
                        <a:pt x="1399" y="2084"/>
                        <a:pt x="0" y="299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6" name="Google Shape;786;p15"/>
                <p:cNvSpPr/>
                <p:nvPr/>
              </p:nvSpPr>
              <p:spPr>
                <a:xfrm>
                  <a:off x="3712509" y="5107724"/>
                  <a:ext cx="4120" cy="29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0" h="2910" extrusionOk="0">
                      <a:moveTo>
                        <a:pt x="0" y="2911"/>
                      </a:moveTo>
                      <a:cubicBezTo>
                        <a:pt x="756" y="1077"/>
                        <a:pt x="1531" y="-757"/>
                        <a:pt x="4121" y="321"/>
                      </a:cubicBezTo>
                      <a:cubicBezTo>
                        <a:pt x="2741" y="1190"/>
                        <a:pt x="1361" y="2060"/>
                        <a:pt x="0" y="29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7" name="Google Shape;787;p15"/>
                <p:cNvSpPr/>
                <p:nvPr/>
              </p:nvSpPr>
              <p:spPr>
                <a:xfrm>
                  <a:off x="3694285" y="5118953"/>
                  <a:ext cx="3478" cy="3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8" h="3043" extrusionOk="0">
                      <a:moveTo>
                        <a:pt x="0" y="3043"/>
                      </a:moveTo>
                      <a:cubicBezTo>
                        <a:pt x="114" y="813"/>
                        <a:pt x="851" y="-643"/>
                        <a:pt x="3478" y="283"/>
                      </a:cubicBezTo>
                      <a:cubicBezTo>
                        <a:pt x="2325" y="1210"/>
                        <a:pt x="1153" y="2117"/>
                        <a:pt x="0" y="30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8" name="Google Shape;788;p15"/>
                <p:cNvSpPr/>
                <p:nvPr/>
              </p:nvSpPr>
              <p:spPr>
                <a:xfrm>
                  <a:off x="3667801" y="5134079"/>
                  <a:ext cx="3478" cy="30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8" h="3021" extrusionOk="0">
                      <a:moveTo>
                        <a:pt x="0" y="3021"/>
                      </a:moveTo>
                      <a:cubicBezTo>
                        <a:pt x="151" y="809"/>
                        <a:pt x="851" y="-684"/>
                        <a:pt x="3478" y="318"/>
                      </a:cubicBezTo>
                      <a:cubicBezTo>
                        <a:pt x="2325" y="1225"/>
                        <a:pt x="1153" y="2114"/>
                        <a:pt x="0" y="302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789" name="Google Shape;789;p15"/>
                <p:cNvSpPr/>
                <p:nvPr/>
              </p:nvSpPr>
              <p:spPr>
                <a:xfrm>
                  <a:off x="3626155" y="5156758"/>
                  <a:ext cx="3535" cy="30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5" h="3008" extrusionOk="0">
                      <a:moveTo>
                        <a:pt x="0" y="3009"/>
                      </a:moveTo>
                      <a:cubicBezTo>
                        <a:pt x="208" y="816"/>
                        <a:pt x="889" y="-715"/>
                        <a:pt x="3535" y="343"/>
                      </a:cubicBezTo>
                      <a:cubicBezTo>
                        <a:pt x="2363" y="1232"/>
                        <a:pt x="1172" y="2120"/>
                        <a:pt x="0" y="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790" name="Google Shape;790;p15"/>
              <p:cNvSpPr/>
              <p:nvPr/>
            </p:nvSpPr>
            <p:spPr>
              <a:xfrm>
                <a:off x="1758382" y="5442342"/>
                <a:ext cx="1909419" cy="384129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791" name="Google Shape;791;p15"/>
            <p:cNvSpPr/>
            <p:nvPr/>
          </p:nvSpPr>
          <p:spPr>
            <a:xfrm>
              <a:off x="1550539" y="2208144"/>
              <a:ext cx="1858208" cy="459315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792" name="Google Shape;792;p15"/>
            <p:cNvSpPr txBox="1"/>
            <p:nvPr/>
          </p:nvSpPr>
          <p:spPr>
            <a:xfrm>
              <a:off x="1670241" y="2283912"/>
              <a:ext cx="1611281" cy="3381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900">
                  <a:solidFill>
                    <a:srgbClr val="484848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Банк «Открытие»</a:t>
              </a:r>
              <a:endParaRPr/>
            </a:p>
          </p:txBody>
        </p:sp>
      </p:grpSp>
      <p:grpSp>
        <p:nvGrpSpPr>
          <p:cNvPr id="793" name="Google Shape;793;p15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794" name="Google Shape;794;p15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5" name="Google Shape;795;p15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6" name="Google Shape;796;p15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7" name="Google Shape;797;p15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798" name="Google Shape;798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799" name="Google Shape;799;p15"/>
          <p:cNvSpPr txBox="1"/>
          <p:nvPr/>
        </p:nvSpPr>
        <p:spPr>
          <a:xfrm>
            <a:off x="630183" y="241899"/>
            <a:ext cx="10166415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6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Любая история когда-нибудь заканчивается. А ещё чаще она идёт по кругу…</a:t>
            </a:r>
            <a:endParaRPr sz="3600" b="1">
              <a:solidFill>
                <a:srgbClr val="484848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800" name="Google Shape;800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597777" y="2272811"/>
            <a:ext cx="1168520" cy="41366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01" name="Google Shape;801;p15"/>
          <p:cNvGrpSpPr/>
          <p:nvPr/>
        </p:nvGrpSpPr>
        <p:grpSpPr>
          <a:xfrm>
            <a:off x="8412386" y="2045951"/>
            <a:ext cx="3549117" cy="2621524"/>
            <a:chOff x="5047786" y="688571"/>
            <a:chExt cx="7011107" cy="5178693"/>
          </a:xfrm>
        </p:grpSpPr>
        <p:grpSp>
          <p:nvGrpSpPr>
            <p:cNvPr id="802" name="Google Shape;802;p15"/>
            <p:cNvGrpSpPr/>
            <p:nvPr/>
          </p:nvGrpSpPr>
          <p:grpSpPr>
            <a:xfrm>
              <a:off x="10291387" y="690463"/>
              <a:ext cx="1080352" cy="1787738"/>
              <a:chOff x="5100260" y="3454607"/>
              <a:chExt cx="1145867" cy="1896145"/>
            </a:xfrm>
          </p:grpSpPr>
          <p:grpSp>
            <p:nvGrpSpPr>
              <p:cNvPr id="803" name="Google Shape;803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04" name="Google Shape;804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05" name="Google Shape;805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06" name="Google Shape;806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07" name="Google Shape;807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08" name="Google Shape;808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09" name="Google Shape;809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10" name="Google Shape;810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11" name="Google Shape;811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12" name="Google Shape;812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13" name="Google Shape;813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14" name="Google Shape;814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815" name="Google Shape;815;p15"/>
                <p:cNvPicPr preferRelativeResize="0"/>
                <p:nvPr/>
              </p:nvPicPr>
              <p:blipFill rotWithShape="1">
                <a:blip r:embed="rId5">
                  <a:alphaModFix/>
                </a:blip>
                <a:srcRect/>
                <a:stretch/>
              </p:blipFill>
              <p:spPr>
                <a:xfrm>
                  <a:off x="5467908" y="4296931"/>
                  <a:ext cx="410720" cy="299623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816" name="Google Shape;816;p15"/>
            <p:cNvGrpSpPr/>
            <p:nvPr/>
          </p:nvGrpSpPr>
          <p:grpSpPr>
            <a:xfrm>
              <a:off x="10978541" y="2058852"/>
              <a:ext cx="1080352" cy="1787738"/>
              <a:chOff x="5100260" y="3454607"/>
              <a:chExt cx="1145867" cy="1896145"/>
            </a:xfrm>
          </p:grpSpPr>
          <p:grpSp>
            <p:nvGrpSpPr>
              <p:cNvPr id="817" name="Google Shape;817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18" name="Google Shape;818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19" name="Google Shape;819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20" name="Google Shape;820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21" name="Google Shape;821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22" name="Google Shape;822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23" name="Google Shape;823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24" name="Google Shape;824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25" name="Google Shape;825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26" name="Google Shape;826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27" name="Google Shape;827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28" name="Google Shape;828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829" name="Google Shape;829;p15"/>
                <p:cNvPicPr preferRelativeResize="0"/>
                <p:nvPr/>
              </p:nvPicPr>
              <p:blipFill rotWithShape="1">
                <a:blip r:embed="rId6">
                  <a:alphaModFix/>
                </a:blip>
                <a:srcRect/>
                <a:stretch/>
              </p:blipFill>
              <p:spPr>
                <a:xfrm>
                  <a:off x="5462262" y="4341523"/>
                  <a:ext cx="419200" cy="15606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sp>
          <p:nvSpPr>
            <p:cNvPr id="830" name="Google Shape;830;p15"/>
            <p:cNvSpPr txBox="1"/>
            <p:nvPr/>
          </p:nvSpPr>
          <p:spPr>
            <a:xfrm>
              <a:off x="5516189" y="3725949"/>
              <a:ext cx="576001" cy="3110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t" anchorCtr="0">
              <a:noAutofit/>
            </a:bodyPr>
            <a:lstStyle/>
            <a:p>
              <a:pPr marL="0" marR="0" lvl="0" indent="0" algn="l" rtl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1">
                  <a:solidFill>
                    <a:schemeClr val="lt1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2022 г.</a:t>
              </a:r>
              <a:endParaRPr sz="1200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endParaRPr>
            </a:p>
          </p:txBody>
        </p:sp>
        <p:grpSp>
          <p:nvGrpSpPr>
            <p:cNvPr id="831" name="Google Shape;831;p15"/>
            <p:cNvGrpSpPr/>
            <p:nvPr/>
          </p:nvGrpSpPr>
          <p:grpSpPr>
            <a:xfrm>
              <a:off x="6200366" y="1079918"/>
              <a:ext cx="1080352" cy="1787738"/>
              <a:chOff x="5100260" y="3454607"/>
              <a:chExt cx="1145867" cy="1896145"/>
            </a:xfrm>
          </p:grpSpPr>
          <p:grpSp>
            <p:nvGrpSpPr>
              <p:cNvPr id="832" name="Google Shape;832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33" name="Google Shape;833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34" name="Google Shape;834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35" name="Google Shape;835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36" name="Google Shape;836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37" name="Google Shape;837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38" name="Google Shape;838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39" name="Google Shape;839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40" name="Google Shape;840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41" name="Google Shape;841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42" name="Google Shape;842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43" name="Google Shape;843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844" name="Google Shape;844;p15"/>
                <p:cNvPicPr preferRelativeResize="0"/>
                <p:nvPr/>
              </p:nvPicPr>
              <p:blipFill rotWithShape="1">
                <a:blip r:embed="rId7">
                  <a:alphaModFix/>
                </a:blip>
                <a:srcRect/>
                <a:stretch/>
              </p:blipFill>
              <p:spPr>
                <a:xfrm>
                  <a:off x="5518202" y="4234522"/>
                  <a:ext cx="310132" cy="35597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845" name="Google Shape;845;p15"/>
            <p:cNvGrpSpPr/>
            <p:nvPr/>
          </p:nvGrpSpPr>
          <p:grpSpPr>
            <a:xfrm>
              <a:off x="8318686" y="3962032"/>
              <a:ext cx="1080352" cy="1787738"/>
              <a:chOff x="5100260" y="3454607"/>
              <a:chExt cx="1145867" cy="1896145"/>
            </a:xfrm>
          </p:grpSpPr>
          <p:grpSp>
            <p:nvGrpSpPr>
              <p:cNvPr id="846" name="Google Shape;846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47" name="Google Shape;847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48" name="Google Shape;848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49" name="Google Shape;849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50" name="Google Shape;850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51" name="Google Shape;851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52" name="Google Shape;852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53" name="Google Shape;853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54" name="Google Shape;854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55" name="Google Shape;855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56" name="Google Shape;856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57" name="Google Shape;857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858" name="Google Shape;858;p15"/>
                <p:cNvPicPr preferRelativeResize="0"/>
                <p:nvPr/>
              </p:nvPicPr>
              <p:blipFill rotWithShape="1">
                <a:blip r:embed="rId8">
                  <a:alphaModFix/>
                </a:blip>
                <a:srcRect/>
                <a:stretch/>
              </p:blipFill>
              <p:spPr>
                <a:xfrm>
                  <a:off x="5438215" y="4395621"/>
                  <a:ext cx="478809" cy="8645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859" name="Google Shape;859;p15"/>
            <p:cNvGrpSpPr/>
            <p:nvPr/>
          </p:nvGrpSpPr>
          <p:grpSpPr>
            <a:xfrm>
              <a:off x="10834823" y="3525906"/>
              <a:ext cx="1080352" cy="1787738"/>
              <a:chOff x="5100260" y="3454607"/>
              <a:chExt cx="1145867" cy="1896145"/>
            </a:xfrm>
          </p:grpSpPr>
          <p:grpSp>
            <p:nvGrpSpPr>
              <p:cNvPr id="860" name="Google Shape;860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61" name="Google Shape;861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62" name="Google Shape;862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63" name="Google Shape;863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64" name="Google Shape;864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65" name="Google Shape;865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66" name="Google Shape;866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67" name="Google Shape;867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68" name="Google Shape;868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69" name="Google Shape;869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70" name="Google Shape;870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71" name="Google Shape;871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872" name="Google Shape;872;p15"/>
                <p:cNvPicPr preferRelativeResize="0"/>
                <p:nvPr/>
              </p:nvPicPr>
              <p:blipFill rotWithShape="1">
                <a:blip r:embed="rId9">
                  <a:alphaModFix/>
                </a:blip>
                <a:srcRect/>
                <a:stretch/>
              </p:blipFill>
              <p:spPr>
                <a:xfrm>
                  <a:off x="5448522" y="4395621"/>
                  <a:ext cx="458195" cy="8645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873" name="Google Shape;873;p15"/>
            <p:cNvGrpSpPr/>
            <p:nvPr/>
          </p:nvGrpSpPr>
          <p:grpSpPr>
            <a:xfrm>
              <a:off x="9669701" y="2416258"/>
              <a:ext cx="1080352" cy="1787738"/>
              <a:chOff x="5100260" y="3454607"/>
              <a:chExt cx="1145867" cy="1896145"/>
            </a:xfrm>
          </p:grpSpPr>
          <p:grpSp>
            <p:nvGrpSpPr>
              <p:cNvPr id="874" name="Google Shape;874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75" name="Google Shape;875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76" name="Google Shape;876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77" name="Google Shape;877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78" name="Google Shape;878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79" name="Google Shape;879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80" name="Google Shape;880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81" name="Google Shape;881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82" name="Google Shape;882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83" name="Google Shape;883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84" name="Google Shape;884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85" name="Google Shape;885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886" name="Google Shape;886;p15"/>
                <p:cNvPicPr preferRelativeResize="0"/>
                <p:nvPr/>
              </p:nvPicPr>
              <p:blipFill rotWithShape="1">
                <a:blip r:embed="rId10">
                  <a:alphaModFix/>
                </a:blip>
                <a:srcRect/>
                <a:stretch/>
              </p:blipFill>
              <p:spPr>
                <a:xfrm>
                  <a:off x="5504442" y="4292526"/>
                  <a:ext cx="334838" cy="25405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887" name="Google Shape;887;p15"/>
            <p:cNvGrpSpPr/>
            <p:nvPr/>
          </p:nvGrpSpPr>
          <p:grpSpPr>
            <a:xfrm>
              <a:off x="8909821" y="688571"/>
              <a:ext cx="1080352" cy="1787738"/>
              <a:chOff x="5100260" y="3454607"/>
              <a:chExt cx="1145867" cy="1896145"/>
            </a:xfrm>
          </p:grpSpPr>
          <p:grpSp>
            <p:nvGrpSpPr>
              <p:cNvPr id="888" name="Google Shape;888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889" name="Google Shape;889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890" name="Google Shape;890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91" name="Google Shape;891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92" name="Google Shape;892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93" name="Google Shape;893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94" name="Google Shape;894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95" name="Google Shape;895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896" name="Google Shape;896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897" name="Google Shape;897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898" name="Google Shape;898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899" name="Google Shape;899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900" name="Google Shape;900;p15"/>
                <p:cNvPicPr preferRelativeResize="0"/>
                <p:nvPr/>
              </p:nvPicPr>
              <p:blipFill rotWithShape="1">
                <a:blip r:embed="rId11">
                  <a:alphaModFix/>
                </a:blip>
                <a:srcRect/>
                <a:stretch/>
              </p:blipFill>
              <p:spPr>
                <a:xfrm>
                  <a:off x="5541874" y="4268162"/>
                  <a:ext cx="238546" cy="324800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901" name="Google Shape;901;p15"/>
            <p:cNvGrpSpPr/>
            <p:nvPr/>
          </p:nvGrpSpPr>
          <p:grpSpPr>
            <a:xfrm>
              <a:off x="7460055" y="754315"/>
              <a:ext cx="1080352" cy="1787738"/>
              <a:chOff x="5100260" y="3454607"/>
              <a:chExt cx="1145867" cy="1896145"/>
            </a:xfrm>
          </p:grpSpPr>
          <p:grpSp>
            <p:nvGrpSpPr>
              <p:cNvPr id="902" name="Google Shape;902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903" name="Google Shape;903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904" name="Google Shape;904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05" name="Google Shape;905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06" name="Google Shape;906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07" name="Google Shape;907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08" name="Google Shape;908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09" name="Google Shape;909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10" name="Google Shape;910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911" name="Google Shape;911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912" name="Google Shape;912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913" name="Google Shape;913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914" name="Google Shape;914;p15"/>
                <p:cNvPicPr preferRelativeResize="0"/>
                <p:nvPr/>
              </p:nvPicPr>
              <p:blipFill rotWithShape="1">
                <a:blip r:embed="rId12">
                  <a:alphaModFix/>
                </a:blip>
                <a:srcRect/>
                <a:stretch/>
              </p:blipFill>
              <p:spPr>
                <a:xfrm>
                  <a:off x="5494810" y="4268046"/>
                  <a:ext cx="354102" cy="30301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915" name="Google Shape;915;p15"/>
            <p:cNvGrpSpPr/>
            <p:nvPr/>
          </p:nvGrpSpPr>
          <p:grpSpPr>
            <a:xfrm>
              <a:off x="7402674" y="2462348"/>
              <a:ext cx="1080352" cy="1787738"/>
              <a:chOff x="5100260" y="3454607"/>
              <a:chExt cx="1145867" cy="1896145"/>
            </a:xfrm>
          </p:grpSpPr>
          <p:grpSp>
            <p:nvGrpSpPr>
              <p:cNvPr id="916" name="Google Shape;916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917" name="Google Shape;917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918" name="Google Shape;918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19" name="Google Shape;919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20" name="Google Shape;920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21" name="Google Shape;921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22" name="Google Shape;922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23" name="Google Shape;923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24" name="Google Shape;924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925" name="Google Shape;925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926" name="Google Shape;926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927" name="Google Shape;927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928" name="Google Shape;928;p15"/>
                <p:cNvPicPr preferRelativeResize="0"/>
                <p:nvPr/>
              </p:nvPicPr>
              <p:blipFill rotWithShape="1">
                <a:blip r:embed="rId13">
                  <a:alphaModFix/>
                </a:blip>
                <a:srcRect/>
                <a:stretch/>
              </p:blipFill>
              <p:spPr>
                <a:xfrm>
                  <a:off x="5442528" y="4337098"/>
                  <a:ext cx="458666" cy="16491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929" name="Google Shape;929;p15"/>
            <p:cNvGrpSpPr/>
            <p:nvPr/>
          </p:nvGrpSpPr>
          <p:grpSpPr>
            <a:xfrm>
              <a:off x="9613886" y="4017725"/>
              <a:ext cx="1080352" cy="1787738"/>
              <a:chOff x="5100260" y="3454607"/>
              <a:chExt cx="1145867" cy="1896145"/>
            </a:xfrm>
          </p:grpSpPr>
          <p:grpSp>
            <p:nvGrpSpPr>
              <p:cNvPr id="930" name="Google Shape;930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931" name="Google Shape;931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932" name="Google Shape;932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33" name="Google Shape;933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34" name="Google Shape;934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35" name="Google Shape;935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36" name="Google Shape;936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37" name="Google Shape;937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38" name="Google Shape;938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939" name="Google Shape;939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940" name="Google Shape;940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941" name="Google Shape;941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942" name="Google Shape;942;p15"/>
                <p:cNvPicPr preferRelativeResize="0"/>
                <p:nvPr/>
              </p:nvPicPr>
              <p:blipFill rotWithShape="1">
                <a:blip r:embed="rId14">
                  <a:alphaModFix/>
                </a:blip>
                <a:srcRect/>
                <a:stretch/>
              </p:blipFill>
              <p:spPr>
                <a:xfrm>
                  <a:off x="5416178" y="4388086"/>
                  <a:ext cx="496170" cy="89610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943" name="Google Shape;943;p15"/>
            <p:cNvGrpSpPr/>
            <p:nvPr/>
          </p:nvGrpSpPr>
          <p:grpSpPr>
            <a:xfrm>
              <a:off x="5047786" y="1984842"/>
              <a:ext cx="1345316" cy="2106226"/>
              <a:chOff x="8136636" y="2063180"/>
              <a:chExt cx="1426897" cy="2233947"/>
            </a:xfrm>
          </p:grpSpPr>
          <p:grpSp>
            <p:nvGrpSpPr>
              <p:cNvPr id="944" name="Google Shape;944;p15"/>
              <p:cNvGrpSpPr/>
              <p:nvPr/>
            </p:nvGrpSpPr>
            <p:grpSpPr>
              <a:xfrm>
                <a:off x="8136636" y="2400982"/>
                <a:ext cx="1145867" cy="1896145"/>
                <a:chOff x="5100260" y="3454607"/>
                <a:chExt cx="1145867" cy="1896145"/>
              </a:xfrm>
            </p:grpSpPr>
            <p:grpSp>
              <p:nvGrpSpPr>
                <p:cNvPr id="945" name="Google Shape;945;p15"/>
                <p:cNvGrpSpPr/>
                <p:nvPr/>
              </p:nvGrpSpPr>
              <p:grpSpPr>
                <a:xfrm>
                  <a:off x="5100260" y="3454607"/>
                  <a:ext cx="1145867" cy="1896145"/>
                  <a:chOff x="6148706" y="2525297"/>
                  <a:chExt cx="1161190" cy="1921500"/>
                </a:xfrm>
              </p:grpSpPr>
              <p:grpSp>
                <p:nvGrpSpPr>
                  <p:cNvPr id="946" name="Google Shape;946;p15"/>
                  <p:cNvGrpSpPr/>
                  <p:nvPr/>
                </p:nvGrpSpPr>
                <p:grpSpPr>
                  <a:xfrm>
                    <a:off x="6148706" y="2525297"/>
                    <a:ext cx="1161190" cy="1565194"/>
                    <a:chOff x="6240394" y="2470650"/>
                    <a:chExt cx="1161190" cy="1565194"/>
                  </a:xfrm>
                </p:grpSpPr>
                <p:sp>
                  <p:nvSpPr>
                    <p:cNvPr id="947" name="Google Shape;947;p15"/>
                    <p:cNvSpPr/>
                    <p:nvPr/>
                  </p:nvSpPr>
                  <p:spPr>
                    <a:xfrm>
                      <a:off x="6240394" y="2470650"/>
                      <a:ext cx="1161190" cy="156519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161190" h="1565194" extrusionOk="0">
                          <a:moveTo>
                            <a:pt x="769477" y="1427771"/>
                          </a:moveTo>
                          <a:cubicBezTo>
                            <a:pt x="737245" y="1512449"/>
                            <a:pt x="675931" y="1563437"/>
                            <a:pt x="580840" y="1563904"/>
                          </a:cubicBezTo>
                          <a:cubicBezTo>
                            <a:pt x="485165" y="1564370"/>
                            <a:pt x="425018" y="1511778"/>
                            <a:pt x="389665" y="1423075"/>
                          </a:cubicBezTo>
                          <a:cubicBezTo>
                            <a:pt x="387069" y="1428850"/>
                            <a:pt x="385085" y="1432350"/>
                            <a:pt x="383831" y="1436113"/>
                          </a:cubicBezTo>
                          <a:cubicBezTo>
                            <a:pt x="358658" y="1511399"/>
                            <a:pt x="277888" y="1564545"/>
                            <a:pt x="201902" y="1565187"/>
                          </a:cubicBezTo>
                          <a:cubicBezTo>
                            <a:pt x="115241" y="1565916"/>
                            <a:pt x="38146" y="1510407"/>
                            <a:pt x="11806" y="1430834"/>
                          </a:cubicBezTo>
                          <a:cubicBezTo>
                            <a:pt x="4310" y="1408169"/>
                            <a:pt x="897" y="1383142"/>
                            <a:pt x="839" y="1359165"/>
                          </a:cubicBezTo>
                          <a:cubicBezTo>
                            <a:pt x="80" y="1099150"/>
                            <a:pt x="-590" y="839107"/>
                            <a:pt x="839" y="579092"/>
                          </a:cubicBezTo>
                          <a:cubicBezTo>
                            <a:pt x="1422" y="468104"/>
                            <a:pt x="30241" y="363678"/>
                            <a:pt x="90884" y="269753"/>
                          </a:cubicBezTo>
                          <a:cubicBezTo>
                            <a:pt x="168854" y="148876"/>
                            <a:pt x="276313" y="65685"/>
                            <a:pt x="414488" y="23973"/>
                          </a:cubicBezTo>
                          <a:cubicBezTo>
                            <a:pt x="499983" y="-1842"/>
                            <a:pt x="587286" y="-6159"/>
                            <a:pt x="675435" y="7901"/>
                          </a:cubicBezTo>
                          <a:cubicBezTo>
                            <a:pt x="776040" y="23944"/>
                            <a:pt x="866027" y="64693"/>
                            <a:pt x="944901" y="128516"/>
                          </a:cubicBezTo>
                          <a:cubicBezTo>
                            <a:pt x="1041801" y="206922"/>
                            <a:pt x="1106527" y="307002"/>
                            <a:pt x="1139635" y="427500"/>
                          </a:cubicBezTo>
                          <a:cubicBezTo>
                            <a:pt x="1155065" y="483709"/>
                            <a:pt x="1160753" y="541114"/>
                            <a:pt x="1160870" y="598986"/>
                          </a:cubicBezTo>
                          <a:cubicBezTo>
                            <a:pt x="1161336" y="849287"/>
                            <a:pt x="1160928" y="1099588"/>
                            <a:pt x="1161191" y="1349918"/>
                          </a:cubicBezTo>
                          <a:cubicBezTo>
                            <a:pt x="1161249" y="1414091"/>
                            <a:pt x="1142872" y="1470504"/>
                            <a:pt x="1094947" y="1515074"/>
                          </a:cubicBezTo>
                          <a:cubicBezTo>
                            <a:pt x="1065165" y="1542756"/>
                            <a:pt x="1028996" y="1558682"/>
                            <a:pt x="989267" y="1563378"/>
                          </a:cubicBezTo>
                          <a:cubicBezTo>
                            <a:pt x="923111" y="1571196"/>
                            <a:pt x="864248" y="1552411"/>
                            <a:pt x="819123" y="1502473"/>
                          </a:cubicBezTo>
                          <a:cubicBezTo>
                            <a:pt x="799405" y="1480626"/>
                            <a:pt x="786016" y="1453061"/>
                            <a:pt x="769535" y="1427771"/>
                          </a:cubicBezTo>
                          <a:close/>
                          <a:moveTo>
                            <a:pt x="881078" y="478779"/>
                          </a:moveTo>
                          <a:cubicBezTo>
                            <a:pt x="884462" y="412915"/>
                            <a:pt x="822273" y="343638"/>
                            <a:pt x="746988" y="344514"/>
                          </a:cubicBezTo>
                          <a:cubicBezTo>
                            <a:pt x="687803" y="345214"/>
                            <a:pt x="613217" y="398097"/>
                            <a:pt x="616718" y="481230"/>
                          </a:cubicBezTo>
                          <a:cubicBezTo>
                            <a:pt x="619810" y="554999"/>
                            <a:pt x="672898" y="608349"/>
                            <a:pt x="749000" y="609458"/>
                          </a:cubicBezTo>
                          <a:cubicBezTo>
                            <a:pt x="826707" y="610566"/>
                            <a:pt x="882333" y="545869"/>
                            <a:pt x="881078" y="478779"/>
                          </a:cubicBezTo>
                          <a:close/>
                          <a:moveTo>
                            <a:pt x="280338" y="479742"/>
                          </a:moveTo>
                          <a:cubicBezTo>
                            <a:pt x="281593" y="550244"/>
                            <a:pt x="335235" y="610508"/>
                            <a:pt x="416734" y="609312"/>
                          </a:cubicBezTo>
                          <a:cubicBezTo>
                            <a:pt x="486915" y="608291"/>
                            <a:pt x="545049" y="553628"/>
                            <a:pt x="544495" y="475250"/>
                          </a:cubicBezTo>
                          <a:cubicBezTo>
                            <a:pt x="543999" y="405127"/>
                            <a:pt x="488432" y="343084"/>
                            <a:pt x="407808" y="345535"/>
                          </a:cubicBezTo>
                          <a:cubicBezTo>
                            <a:pt x="334360" y="347781"/>
                            <a:pt x="281213" y="404719"/>
                            <a:pt x="280309" y="479742"/>
                          </a:cubicBezTo>
                          <a:close/>
                        </a:path>
                      </a:pathLst>
                    </a:custGeom>
                    <a:solidFill>
                      <a:schemeClr val="lt2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  <p:sp>
                  <p:nvSpPr>
                    <p:cNvPr id="948" name="Google Shape;948;p15"/>
                    <p:cNvSpPr/>
                    <p:nvPr/>
                  </p:nvSpPr>
                  <p:spPr>
                    <a:xfrm>
                      <a:off x="6856993" y="2815154"/>
                      <a:ext cx="264609" cy="26496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64609" h="264966" extrusionOk="0">
                          <a:moveTo>
                            <a:pt x="264479" y="134275"/>
                          </a:moveTo>
                          <a:cubicBezTo>
                            <a:pt x="265734" y="201335"/>
                            <a:pt x="210137" y="266061"/>
                            <a:pt x="132401" y="264953"/>
                          </a:cubicBezTo>
                          <a:cubicBezTo>
                            <a:pt x="56299" y="263874"/>
                            <a:pt x="3211" y="210523"/>
                            <a:pt x="119" y="136725"/>
                          </a:cubicBezTo>
                          <a:cubicBezTo>
                            <a:pt x="-3382" y="53593"/>
                            <a:pt x="71204" y="709"/>
                            <a:pt x="130389" y="9"/>
                          </a:cubicBezTo>
                          <a:cubicBezTo>
                            <a:pt x="205645" y="-895"/>
                            <a:pt x="267834" y="68411"/>
                            <a:pt x="264479" y="134275"/>
                          </a:cubicBezTo>
                          <a:close/>
                          <a:moveTo>
                            <a:pt x="132751" y="41108"/>
                          </a:moveTo>
                          <a:cubicBezTo>
                            <a:pt x="80888" y="40962"/>
                            <a:pt x="39964" y="80516"/>
                            <a:pt x="39760" y="130979"/>
                          </a:cubicBezTo>
                          <a:cubicBezTo>
                            <a:pt x="39556" y="183921"/>
                            <a:pt x="79751" y="225166"/>
                            <a:pt x="131672" y="225341"/>
                          </a:cubicBezTo>
                          <a:cubicBezTo>
                            <a:pt x="182660" y="225487"/>
                            <a:pt x="226005" y="182404"/>
                            <a:pt x="225801" y="131766"/>
                          </a:cubicBezTo>
                          <a:cubicBezTo>
                            <a:pt x="225568" y="81537"/>
                            <a:pt x="184206" y="41225"/>
                            <a:pt x="132751" y="41108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  <p:sp>
                  <p:nvSpPr>
                    <p:cNvPr id="949" name="Google Shape;949;p15"/>
                    <p:cNvSpPr/>
                    <p:nvPr/>
                  </p:nvSpPr>
                  <p:spPr>
                    <a:xfrm>
                      <a:off x="6520703" y="2816114"/>
                      <a:ext cx="264189" cy="26386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64189" h="263864" extrusionOk="0">
                          <a:moveTo>
                            <a:pt x="0" y="134278"/>
                          </a:moveTo>
                          <a:cubicBezTo>
                            <a:pt x="904" y="59225"/>
                            <a:pt x="54051" y="2316"/>
                            <a:pt x="127499" y="70"/>
                          </a:cubicBezTo>
                          <a:cubicBezTo>
                            <a:pt x="208122" y="-2380"/>
                            <a:pt x="263661" y="59663"/>
                            <a:pt x="264186" y="129786"/>
                          </a:cubicBezTo>
                          <a:cubicBezTo>
                            <a:pt x="264740" y="208163"/>
                            <a:pt x="206606" y="262827"/>
                            <a:pt x="136424" y="263847"/>
                          </a:cubicBezTo>
                          <a:cubicBezTo>
                            <a:pt x="54896" y="265043"/>
                            <a:pt x="1254" y="204809"/>
                            <a:pt x="29" y="134278"/>
                          </a:cubicBezTo>
                          <a:close/>
                          <a:moveTo>
                            <a:pt x="224661" y="131594"/>
                          </a:moveTo>
                          <a:cubicBezTo>
                            <a:pt x="224661" y="81073"/>
                            <a:pt x="183708" y="40032"/>
                            <a:pt x="133245" y="39507"/>
                          </a:cubicBezTo>
                          <a:cubicBezTo>
                            <a:pt x="76628" y="38894"/>
                            <a:pt x="40283" y="84428"/>
                            <a:pt x="38503" y="132265"/>
                          </a:cubicBezTo>
                          <a:cubicBezTo>
                            <a:pt x="36724" y="180540"/>
                            <a:pt x="82928" y="224382"/>
                            <a:pt x="132545" y="224411"/>
                          </a:cubicBezTo>
                          <a:cubicBezTo>
                            <a:pt x="183679" y="224411"/>
                            <a:pt x="224661" y="183136"/>
                            <a:pt x="224661" y="13159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  <p:sp>
                  <p:nvSpPr>
                    <p:cNvPr id="950" name="Google Shape;950;p15"/>
                    <p:cNvSpPr/>
                    <p:nvPr/>
                  </p:nvSpPr>
                  <p:spPr>
                    <a:xfrm>
                      <a:off x="6877300" y="2856262"/>
                      <a:ext cx="186042" cy="18423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6042" h="184233" extrusionOk="0">
                          <a:moveTo>
                            <a:pt x="92992" y="0"/>
                          </a:moveTo>
                          <a:cubicBezTo>
                            <a:pt x="144447" y="146"/>
                            <a:pt x="185809" y="40429"/>
                            <a:pt x="186042" y="90658"/>
                          </a:cubicBezTo>
                          <a:cubicBezTo>
                            <a:pt x="186275" y="141296"/>
                            <a:pt x="142901" y="184379"/>
                            <a:pt x="91913" y="184233"/>
                          </a:cubicBezTo>
                          <a:cubicBezTo>
                            <a:pt x="39992" y="184058"/>
                            <a:pt x="-203" y="142813"/>
                            <a:pt x="1" y="89871"/>
                          </a:cubicBezTo>
                          <a:cubicBezTo>
                            <a:pt x="205" y="39408"/>
                            <a:pt x="41100" y="-145"/>
                            <a:pt x="92992" y="0"/>
                          </a:cubicBezTo>
                          <a:close/>
                          <a:moveTo>
                            <a:pt x="64698" y="84329"/>
                          </a:moveTo>
                          <a:cubicBezTo>
                            <a:pt x="74820" y="84066"/>
                            <a:pt x="84271" y="74353"/>
                            <a:pt x="83512" y="64114"/>
                          </a:cubicBezTo>
                          <a:cubicBezTo>
                            <a:pt x="82637" y="52505"/>
                            <a:pt x="75753" y="46934"/>
                            <a:pt x="64144" y="47021"/>
                          </a:cubicBezTo>
                          <a:cubicBezTo>
                            <a:pt x="51864" y="47138"/>
                            <a:pt x="43900" y="54430"/>
                            <a:pt x="44425" y="65339"/>
                          </a:cubicBezTo>
                          <a:cubicBezTo>
                            <a:pt x="44892" y="75520"/>
                            <a:pt x="54576" y="84591"/>
                            <a:pt x="64727" y="84329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  <p:sp>
                  <p:nvSpPr>
                    <p:cNvPr id="951" name="Google Shape;951;p15"/>
                    <p:cNvSpPr/>
                    <p:nvPr/>
                  </p:nvSpPr>
                  <p:spPr>
                    <a:xfrm>
                      <a:off x="6541629" y="2855586"/>
                      <a:ext cx="186209" cy="1849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6209" h="184909" extrusionOk="0">
                          <a:moveTo>
                            <a:pt x="186209" y="92093"/>
                          </a:moveTo>
                          <a:cubicBezTo>
                            <a:pt x="186209" y="143635"/>
                            <a:pt x="145227" y="184939"/>
                            <a:pt x="94093" y="184910"/>
                          </a:cubicBezTo>
                          <a:cubicBezTo>
                            <a:pt x="44476" y="184910"/>
                            <a:pt x="-1757" y="141010"/>
                            <a:pt x="51" y="92764"/>
                          </a:cubicBezTo>
                          <a:cubicBezTo>
                            <a:pt x="1831" y="44927"/>
                            <a:pt x="38176" y="-606"/>
                            <a:pt x="94793" y="6"/>
                          </a:cubicBezTo>
                          <a:cubicBezTo>
                            <a:pt x="145256" y="531"/>
                            <a:pt x="186180" y="41601"/>
                            <a:pt x="186209" y="92093"/>
                          </a:cubicBezTo>
                          <a:close/>
                          <a:moveTo>
                            <a:pt x="83767" y="66045"/>
                          </a:moveTo>
                          <a:cubicBezTo>
                            <a:pt x="83680" y="54523"/>
                            <a:pt x="74870" y="46298"/>
                            <a:pt x="62678" y="47202"/>
                          </a:cubicBezTo>
                          <a:cubicBezTo>
                            <a:pt x="51564" y="48048"/>
                            <a:pt x="46110" y="55544"/>
                            <a:pt x="46693" y="65841"/>
                          </a:cubicBezTo>
                          <a:cubicBezTo>
                            <a:pt x="47276" y="76225"/>
                            <a:pt x="52148" y="84655"/>
                            <a:pt x="64399" y="84947"/>
                          </a:cubicBezTo>
                          <a:cubicBezTo>
                            <a:pt x="75775" y="85209"/>
                            <a:pt x="83884" y="77100"/>
                            <a:pt x="83796" y="66045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  <p:sp>
                  <p:nvSpPr>
                    <p:cNvPr id="952" name="Google Shape;952;p15"/>
                    <p:cNvSpPr/>
                    <p:nvPr/>
                  </p:nvSpPr>
                  <p:spPr>
                    <a:xfrm>
                      <a:off x="6921671" y="2903282"/>
                      <a:ext cx="39157" cy="3731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9157" h="37314" extrusionOk="0">
                          <a:moveTo>
                            <a:pt x="20326" y="37309"/>
                          </a:moveTo>
                          <a:cubicBezTo>
                            <a:pt x="10205" y="37572"/>
                            <a:pt x="520" y="28500"/>
                            <a:pt x="25" y="18320"/>
                          </a:cubicBezTo>
                          <a:cubicBezTo>
                            <a:pt x="-501" y="7411"/>
                            <a:pt x="7434" y="118"/>
                            <a:pt x="19743" y="2"/>
                          </a:cubicBezTo>
                          <a:cubicBezTo>
                            <a:pt x="31381" y="-115"/>
                            <a:pt x="38236" y="5486"/>
                            <a:pt x="39111" y="17095"/>
                          </a:cubicBezTo>
                          <a:cubicBezTo>
                            <a:pt x="39899" y="27333"/>
                            <a:pt x="30448" y="37047"/>
                            <a:pt x="20297" y="37309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  <p:sp>
                  <p:nvSpPr>
                    <p:cNvPr id="953" name="Google Shape;953;p15"/>
                    <p:cNvSpPr/>
                    <p:nvPr/>
                  </p:nvSpPr>
                  <p:spPr>
                    <a:xfrm>
                      <a:off x="6588254" y="2902716"/>
                      <a:ext cx="37142" cy="3782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7142" h="37823" extrusionOk="0">
                          <a:moveTo>
                            <a:pt x="37142" y="18915"/>
                          </a:moveTo>
                          <a:cubicBezTo>
                            <a:pt x="37229" y="29970"/>
                            <a:pt x="29120" y="38079"/>
                            <a:pt x="17744" y="37817"/>
                          </a:cubicBezTo>
                          <a:cubicBezTo>
                            <a:pt x="5493" y="37525"/>
                            <a:pt x="622" y="29095"/>
                            <a:pt x="39" y="18711"/>
                          </a:cubicBezTo>
                          <a:cubicBezTo>
                            <a:pt x="-516" y="8414"/>
                            <a:pt x="4910" y="918"/>
                            <a:pt x="16023" y="72"/>
                          </a:cubicBezTo>
                          <a:cubicBezTo>
                            <a:pt x="28245" y="-861"/>
                            <a:pt x="37025" y="7393"/>
                            <a:pt x="37113" y="1891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>
                        <a:solidFill>
                          <a:schemeClr val="dk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p:txBody>
                </p:sp>
              </p:grpSp>
              <p:sp>
                <p:nvSpPr>
                  <p:cNvPr id="954" name="Google Shape;954;p15"/>
                  <p:cNvSpPr/>
                  <p:nvPr/>
                </p:nvSpPr>
                <p:spPr>
                  <a:xfrm>
                    <a:off x="6339953" y="4150632"/>
                    <a:ext cx="778696" cy="296165"/>
                  </a:xfrm>
                  <a:prstGeom prst="ellipse">
                    <a:avLst/>
                  </a:prstGeom>
                  <a:solidFill>
                    <a:srgbClr val="A5A5A5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ctr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lt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grpSp>
              <p:nvGrpSpPr>
                <p:cNvPr id="955" name="Google Shape;955;p15"/>
                <p:cNvGrpSpPr/>
                <p:nvPr/>
              </p:nvGrpSpPr>
              <p:grpSpPr>
                <a:xfrm>
                  <a:off x="5327392" y="4155741"/>
                  <a:ext cx="674012" cy="552459"/>
                  <a:chOff x="5327392" y="4155741"/>
                  <a:chExt cx="674012" cy="552459"/>
                </a:xfrm>
              </p:grpSpPr>
              <p:sp>
                <p:nvSpPr>
                  <p:cNvPr id="956" name="Google Shape;956;p15"/>
                  <p:cNvSpPr/>
                  <p:nvPr/>
                </p:nvSpPr>
                <p:spPr>
                  <a:xfrm>
                    <a:off x="5389557" y="4155741"/>
                    <a:ext cx="552459" cy="552459"/>
                  </a:xfrm>
                  <a:prstGeom prst="ellipse">
                    <a:avLst/>
                  </a:prstGeom>
                  <a:solidFill>
                    <a:schemeClr val="lt1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marL="0" marR="0" lvl="0" indent="0" algn="ctr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200">
                      <a:solidFill>
                        <a:srgbClr val="FFFFFF"/>
                      </a:solidFill>
                      <a:latin typeface="Roboto"/>
                      <a:ea typeface="Roboto"/>
                      <a:cs typeface="Roboto"/>
                      <a:sym typeface="Roboto"/>
                    </a:endParaRPr>
                  </a:p>
                </p:txBody>
              </p:sp>
              <p:pic>
                <p:nvPicPr>
                  <p:cNvPr id="957" name="Google Shape;957;p15"/>
                  <p:cNvPicPr preferRelativeResize="0"/>
                  <p:nvPr/>
                </p:nvPicPr>
                <p:blipFill rotWithShape="1">
                  <a:blip r:embed="rId15">
                    <a:alphaModFix/>
                  </a:blip>
                  <a:srcRect/>
                  <a:stretch/>
                </p:blipFill>
                <p:spPr>
                  <a:xfrm>
                    <a:off x="5327392" y="4354425"/>
                    <a:ext cx="674012" cy="16715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</p:pic>
            </p:grpSp>
          </p:grpSp>
          <p:grpSp>
            <p:nvGrpSpPr>
              <p:cNvPr id="958" name="Google Shape;958;p15"/>
              <p:cNvGrpSpPr/>
              <p:nvPr/>
            </p:nvGrpSpPr>
            <p:grpSpPr>
              <a:xfrm>
                <a:off x="8895130" y="2063180"/>
                <a:ext cx="668403" cy="668403"/>
                <a:chOff x="5464170" y="3541194"/>
                <a:chExt cx="668403" cy="668403"/>
              </a:xfrm>
            </p:grpSpPr>
            <p:sp>
              <p:nvSpPr>
                <p:cNvPr id="959" name="Google Shape;959;p15"/>
                <p:cNvSpPr/>
                <p:nvPr/>
              </p:nvSpPr>
              <p:spPr>
                <a:xfrm>
                  <a:off x="5464170" y="3541194"/>
                  <a:ext cx="668403" cy="668403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  <a:effectLst>
                  <a:outerShdw blurRad="1003300" sx="102000" sy="102000" algn="ctr" rotWithShape="0">
                    <a:schemeClr val="dk1">
                      <a:alpha val="20000"/>
                    </a:schemeClr>
                  </a:outerShdw>
                </a:effectLst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sp>
              <p:nvSpPr>
                <p:cNvPr id="960" name="Google Shape;960;p15"/>
                <p:cNvSpPr txBox="1"/>
                <p:nvPr/>
              </p:nvSpPr>
              <p:spPr>
                <a:xfrm>
                  <a:off x="5516189" y="3725949"/>
                  <a:ext cx="576001" cy="31108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45700" tIns="45700" rIns="45700" bIns="45700" anchor="t" anchorCtr="0">
                  <a:noAutofit/>
                </a:bodyPr>
                <a:lstStyle/>
                <a:p>
                  <a:pPr marL="0" marR="0" lvl="0" indent="0" algn="l" rtl="0">
                    <a:lnSpc>
                      <a:spcPct val="12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r>
                    <a:rPr lang="ru-RU" sz="400" b="1">
                      <a:solidFill>
                        <a:srgbClr val="00BEF0"/>
                      </a:solidFill>
                      <a:latin typeface="Roboto"/>
                      <a:ea typeface="Roboto"/>
                      <a:cs typeface="Roboto"/>
                      <a:sym typeface="Roboto"/>
                    </a:rPr>
                    <a:t>2022 г.</a:t>
                  </a:r>
                  <a:endParaRPr sz="400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</p:grpSp>
        </p:grpSp>
        <p:grpSp>
          <p:nvGrpSpPr>
            <p:cNvPr id="961" name="Google Shape;961;p15"/>
            <p:cNvGrpSpPr/>
            <p:nvPr/>
          </p:nvGrpSpPr>
          <p:grpSpPr>
            <a:xfrm>
              <a:off x="6200512" y="3115075"/>
              <a:ext cx="1080352" cy="1787738"/>
              <a:chOff x="5100260" y="3454607"/>
              <a:chExt cx="1145867" cy="1896145"/>
            </a:xfrm>
          </p:grpSpPr>
          <p:grpSp>
            <p:nvGrpSpPr>
              <p:cNvPr id="962" name="Google Shape;962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963" name="Google Shape;963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964" name="Google Shape;964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65" name="Google Shape;965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66" name="Google Shape;966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67" name="Google Shape;967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68" name="Google Shape;968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69" name="Google Shape;969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70" name="Google Shape;970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971" name="Google Shape;971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972" name="Google Shape;972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973" name="Google Shape;973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974" name="Google Shape;974;p15"/>
                <p:cNvPicPr preferRelativeResize="0"/>
                <p:nvPr/>
              </p:nvPicPr>
              <p:blipFill rotWithShape="1">
                <a:blip r:embed="rId11">
                  <a:alphaModFix/>
                </a:blip>
                <a:srcRect/>
                <a:stretch/>
              </p:blipFill>
              <p:spPr>
                <a:xfrm>
                  <a:off x="5541874" y="4268162"/>
                  <a:ext cx="238546" cy="324800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975" name="Google Shape;975;p15"/>
            <p:cNvGrpSpPr/>
            <p:nvPr/>
          </p:nvGrpSpPr>
          <p:grpSpPr>
            <a:xfrm>
              <a:off x="8513264" y="1936238"/>
              <a:ext cx="1080352" cy="1787738"/>
              <a:chOff x="5100260" y="3454607"/>
              <a:chExt cx="1145867" cy="1896145"/>
            </a:xfrm>
          </p:grpSpPr>
          <p:grpSp>
            <p:nvGrpSpPr>
              <p:cNvPr id="976" name="Google Shape;976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977" name="Google Shape;977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978" name="Google Shape;978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79" name="Google Shape;979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80" name="Google Shape;980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81" name="Google Shape;981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82" name="Google Shape;982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83" name="Google Shape;983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84" name="Google Shape;984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985" name="Google Shape;985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986" name="Google Shape;986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987" name="Google Shape;987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988" name="Google Shape;988;p15"/>
                <p:cNvPicPr preferRelativeResize="0"/>
                <p:nvPr/>
              </p:nvPicPr>
              <p:blipFill rotWithShape="1">
                <a:blip r:embed="rId16">
                  <a:alphaModFix/>
                </a:blip>
                <a:srcRect/>
                <a:stretch/>
              </p:blipFill>
              <p:spPr>
                <a:xfrm>
                  <a:off x="5454268" y="4201962"/>
                  <a:ext cx="435186" cy="43518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989" name="Google Shape;989;p15"/>
            <p:cNvGrpSpPr/>
            <p:nvPr/>
          </p:nvGrpSpPr>
          <p:grpSpPr>
            <a:xfrm>
              <a:off x="7013386" y="4079526"/>
              <a:ext cx="1080352" cy="1787738"/>
              <a:chOff x="5100260" y="3454607"/>
              <a:chExt cx="1145867" cy="1896145"/>
            </a:xfrm>
          </p:grpSpPr>
          <p:grpSp>
            <p:nvGrpSpPr>
              <p:cNvPr id="990" name="Google Shape;990;p15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991" name="Google Shape;991;p15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992" name="Google Shape;992;p15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93" name="Google Shape;993;p15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94" name="Google Shape;994;p15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95" name="Google Shape;995;p15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96" name="Google Shape;996;p15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97" name="Google Shape;997;p15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998" name="Google Shape;998;p15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999" name="Google Shape;999;p15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000" name="Google Shape;1000;p15"/>
              <p:cNvGrpSpPr/>
              <p:nvPr/>
            </p:nvGrpSpPr>
            <p:grpSpPr>
              <a:xfrm>
                <a:off x="5389557" y="4155741"/>
                <a:ext cx="552459" cy="552459"/>
                <a:chOff x="5389557" y="4155741"/>
                <a:chExt cx="552459" cy="552459"/>
              </a:xfrm>
            </p:grpSpPr>
            <p:sp>
              <p:nvSpPr>
                <p:cNvPr id="1001" name="Google Shape;1001;p15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1002" name="Google Shape;1002;p15"/>
                <p:cNvPicPr preferRelativeResize="0"/>
                <p:nvPr/>
              </p:nvPicPr>
              <p:blipFill rotWithShape="1">
                <a:blip r:embed="rId17">
                  <a:alphaModFix/>
                </a:blip>
                <a:srcRect/>
                <a:stretch/>
              </p:blipFill>
              <p:spPr>
                <a:xfrm>
                  <a:off x="5502212" y="4267234"/>
                  <a:ext cx="325730" cy="32572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</p:grpSp>
    </p:spTree>
  </p:cSld>
  <p:clrMapOvr>
    <a:masterClrMapping/>
  </p:clrMapOvr>
  <p:transition spd="slow">
    <p:push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8" name="Google Shape;1008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09" name="Google Shape;1009;p16"/>
          <p:cNvGrpSpPr/>
          <p:nvPr/>
        </p:nvGrpSpPr>
        <p:grpSpPr>
          <a:xfrm>
            <a:off x="823295" y="845375"/>
            <a:ext cx="1488636" cy="256205"/>
            <a:chOff x="1447975" y="1300681"/>
            <a:chExt cx="3558981" cy="612528"/>
          </a:xfrm>
        </p:grpSpPr>
        <p:sp>
          <p:nvSpPr>
            <p:cNvPr id="1010" name="Google Shape;1010;p16"/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/>
              <a:ahLst/>
              <a:cxnLst/>
              <a:rect l="l" t="t" r="r" b="b"/>
              <a:pathLst>
                <a:path w="197959" h="262511" extrusionOk="0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1" name="Google Shape;1011;p16"/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/>
              <a:ahLst/>
              <a:cxnLst/>
              <a:rect l="l" t="t" r="r" b="b"/>
              <a:pathLst>
                <a:path w="172134" h="262511" extrusionOk="0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" name="Google Shape;1012;p16"/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/>
              <a:ahLst/>
              <a:cxnLst/>
              <a:rect l="l" t="t" r="r" b="b"/>
              <a:pathLst>
                <a:path w="755979" h="285464" extrusionOk="0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" name="Google Shape;1013;p16"/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/>
              <a:ahLst/>
              <a:cxnLst/>
              <a:rect l="l" t="t" r="r" b="b"/>
              <a:pathLst>
                <a:path w="3558981" h="612528" extrusionOk="0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14" name="Google Shape;1014;p16"/>
          <p:cNvGrpSpPr/>
          <p:nvPr/>
        </p:nvGrpSpPr>
        <p:grpSpPr>
          <a:xfrm>
            <a:off x="823295" y="4463378"/>
            <a:ext cx="2128368" cy="413385"/>
            <a:chOff x="5033962" y="3224212"/>
            <a:chExt cx="2128368" cy="413385"/>
          </a:xfrm>
        </p:grpSpPr>
        <p:sp>
          <p:nvSpPr>
            <p:cNvPr id="1015" name="Google Shape;1015;p16"/>
            <p:cNvSpPr/>
            <p:nvPr/>
          </p:nvSpPr>
          <p:spPr>
            <a:xfrm>
              <a:off x="5033962" y="3224212"/>
              <a:ext cx="413385" cy="413385"/>
            </a:xfrm>
            <a:custGeom>
              <a:avLst/>
              <a:gdLst/>
              <a:ahLst/>
              <a:cxnLst/>
              <a:rect l="l" t="t" r="r" b="b"/>
              <a:pathLst>
                <a:path w="413385" h="413385" extrusionOk="0">
                  <a:moveTo>
                    <a:pt x="206693" y="0"/>
                  </a:moveTo>
                  <a:cubicBezTo>
                    <a:pt x="92393" y="0"/>
                    <a:pt x="0" y="92393"/>
                    <a:pt x="0" y="206693"/>
                  </a:cubicBezTo>
                  <a:cubicBezTo>
                    <a:pt x="0" y="320993"/>
                    <a:pt x="92393" y="413385"/>
                    <a:pt x="206693" y="413385"/>
                  </a:cubicBezTo>
                  <a:cubicBezTo>
                    <a:pt x="320993" y="413385"/>
                    <a:pt x="413385" y="320993"/>
                    <a:pt x="413385" y="206693"/>
                  </a:cubicBezTo>
                  <a:cubicBezTo>
                    <a:pt x="413385" y="92393"/>
                    <a:pt x="320040" y="0"/>
                    <a:pt x="206693" y="0"/>
                  </a:cubicBezTo>
                  <a:close/>
                  <a:moveTo>
                    <a:pt x="177165" y="294323"/>
                  </a:moveTo>
                  <a:lnTo>
                    <a:pt x="161925" y="339090"/>
                  </a:lnTo>
                  <a:cubicBezTo>
                    <a:pt x="104775" y="320040"/>
                    <a:pt x="66675" y="265748"/>
                    <a:pt x="66675" y="204788"/>
                  </a:cubicBezTo>
                  <a:cubicBezTo>
                    <a:pt x="66675" y="143828"/>
                    <a:pt x="104775" y="90488"/>
                    <a:pt x="162878" y="70485"/>
                  </a:cubicBezTo>
                  <a:lnTo>
                    <a:pt x="178118" y="115253"/>
                  </a:lnTo>
                  <a:cubicBezTo>
                    <a:pt x="140018" y="127635"/>
                    <a:pt x="115253" y="163830"/>
                    <a:pt x="115253" y="203835"/>
                  </a:cubicBezTo>
                  <a:cubicBezTo>
                    <a:pt x="114300" y="245745"/>
                    <a:pt x="139065" y="281940"/>
                    <a:pt x="177165" y="294323"/>
                  </a:cubicBezTo>
                  <a:close/>
                  <a:moveTo>
                    <a:pt x="248603" y="340043"/>
                  </a:moveTo>
                  <a:lnTo>
                    <a:pt x="234315" y="295275"/>
                  </a:lnTo>
                  <a:cubicBezTo>
                    <a:pt x="273368" y="282893"/>
                    <a:pt x="299085" y="246698"/>
                    <a:pt x="299085" y="205740"/>
                  </a:cubicBezTo>
                  <a:cubicBezTo>
                    <a:pt x="299085" y="164783"/>
                    <a:pt x="273368" y="129540"/>
                    <a:pt x="235268" y="117158"/>
                  </a:cubicBezTo>
                  <a:lnTo>
                    <a:pt x="250508" y="71438"/>
                  </a:lnTo>
                  <a:cubicBezTo>
                    <a:pt x="308610" y="90488"/>
                    <a:pt x="347663" y="144780"/>
                    <a:pt x="347663" y="205740"/>
                  </a:cubicBezTo>
                  <a:cubicBezTo>
                    <a:pt x="346710" y="267653"/>
                    <a:pt x="306705" y="321945"/>
                    <a:pt x="248603" y="340043"/>
                  </a:cubicBezTo>
                  <a:close/>
                </a:path>
              </a:pathLst>
            </a:custGeom>
            <a:solidFill>
              <a:srgbClr val="00BEF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6" name="Google Shape;1016;p16"/>
            <p:cNvSpPr/>
            <p:nvPr/>
          </p:nvSpPr>
          <p:spPr>
            <a:xfrm>
              <a:off x="5549264" y="3334702"/>
              <a:ext cx="1613066" cy="262890"/>
            </a:xfrm>
            <a:custGeom>
              <a:avLst/>
              <a:gdLst/>
              <a:ahLst/>
              <a:cxnLst/>
              <a:rect l="l" t="t" r="r" b="b"/>
              <a:pathLst>
                <a:path w="1613066" h="262890" extrusionOk="0">
                  <a:moveTo>
                    <a:pt x="1583055" y="132398"/>
                  </a:moveTo>
                  <a:lnTo>
                    <a:pt x="1605915" y="160020"/>
                  </a:lnTo>
                  <a:cubicBezTo>
                    <a:pt x="1582103" y="184785"/>
                    <a:pt x="1552575" y="191453"/>
                    <a:pt x="1528763" y="191453"/>
                  </a:cubicBezTo>
                  <a:cubicBezTo>
                    <a:pt x="1504950" y="191453"/>
                    <a:pt x="1489710" y="187642"/>
                    <a:pt x="1475423" y="180975"/>
                  </a:cubicBezTo>
                  <a:cubicBezTo>
                    <a:pt x="1444943" y="165735"/>
                    <a:pt x="1429703" y="135255"/>
                    <a:pt x="1429703" y="98107"/>
                  </a:cubicBezTo>
                  <a:cubicBezTo>
                    <a:pt x="1429703" y="41910"/>
                    <a:pt x="1467803" y="0"/>
                    <a:pt x="1524000" y="0"/>
                  </a:cubicBezTo>
                  <a:cubicBezTo>
                    <a:pt x="1586865" y="0"/>
                    <a:pt x="1617345" y="46672"/>
                    <a:pt x="1612583" y="107632"/>
                  </a:cubicBezTo>
                  <a:lnTo>
                    <a:pt x="1469708" y="107632"/>
                  </a:lnTo>
                  <a:cubicBezTo>
                    <a:pt x="1470660" y="122873"/>
                    <a:pt x="1479233" y="137160"/>
                    <a:pt x="1491615" y="144780"/>
                  </a:cubicBezTo>
                  <a:cubicBezTo>
                    <a:pt x="1502093" y="151448"/>
                    <a:pt x="1514475" y="154305"/>
                    <a:pt x="1530668" y="154305"/>
                  </a:cubicBezTo>
                  <a:cubicBezTo>
                    <a:pt x="1548765" y="155258"/>
                    <a:pt x="1566863" y="148590"/>
                    <a:pt x="1583055" y="132398"/>
                  </a:cubicBezTo>
                  <a:close/>
                  <a:moveTo>
                    <a:pt x="1471613" y="75248"/>
                  </a:moveTo>
                  <a:lnTo>
                    <a:pt x="1572578" y="75248"/>
                  </a:lnTo>
                  <a:cubicBezTo>
                    <a:pt x="1569720" y="53340"/>
                    <a:pt x="1551623" y="34290"/>
                    <a:pt x="1523048" y="34290"/>
                  </a:cubicBezTo>
                  <a:cubicBezTo>
                    <a:pt x="1492568" y="34290"/>
                    <a:pt x="1474470" y="55245"/>
                    <a:pt x="1471613" y="75248"/>
                  </a:cubicBezTo>
                  <a:close/>
                  <a:moveTo>
                    <a:pt x="511493" y="186690"/>
                  </a:moveTo>
                  <a:lnTo>
                    <a:pt x="562928" y="186690"/>
                  </a:lnTo>
                  <a:lnTo>
                    <a:pt x="481965" y="92392"/>
                  </a:lnTo>
                  <a:lnTo>
                    <a:pt x="561975" y="3810"/>
                  </a:lnTo>
                  <a:lnTo>
                    <a:pt x="511493" y="3810"/>
                  </a:lnTo>
                  <a:lnTo>
                    <a:pt x="450533" y="74295"/>
                  </a:lnTo>
                  <a:lnTo>
                    <a:pt x="432435" y="74295"/>
                  </a:lnTo>
                  <a:lnTo>
                    <a:pt x="432435" y="3810"/>
                  </a:lnTo>
                  <a:lnTo>
                    <a:pt x="393383" y="3810"/>
                  </a:lnTo>
                  <a:lnTo>
                    <a:pt x="393383" y="185738"/>
                  </a:lnTo>
                  <a:lnTo>
                    <a:pt x="432435" y="185738"/>
                  </a:lnTo>
                  <a:lnTo>
                    <a:pt x="432435" y="113348"/>
                  </a:lnTo>
                  <a:lnTo>
                    <a:pt x="450533" y="113348"/>
                  </a:lnTo>
                  <a:lnTo>
                    <a:pt x="511493" y="186690"/>
                  </a:lnTo>
                  <a:close/>
                  <a:moveTo>
                    <a:pt x="680085" y="37147"/>
                  </a:moveTo>
                  <a:cubicBezTo>
                    <a:pt x="646748" y="37147"/>
                    <a:pt x="624840" y="62865"/>
                    <a:pt x="624840" y="95250"/>
                  </a:cubicBezTo>
                  <a:cubicBezTo>
                    <a:pt x="624840" y="127635"/>
                    <a:pt x="646748" y="153353"/>
                    <a:pt x="680085" y="153353"/>
                  </a:cubicBezTo>
                  <a:cubicBezTo>
                    <a:pt x="713423" y="153353"/>
                    <a:pt x="734378" y="128588"/>
                    <a:pt x="734378" y="95250"/>
                  </a:cubicBezTo>
                  <a:cubicBezTo>
                    <a:pt x="734378" y="63817"/>
                    <a:pt x="714375" y="37147"/>
                    <a:pt x="680085" y="37147"/>
                  </a:cubicBezTo>
                  <a:close/>
                  <a:moveTo>
                    <a:pt x="686753" y="0"/>
                  </a:moveTo>
                  <a:cubicBezTo>
                    <a:pt x="738188" y="0"/>
                    <a:pt x="776288" y="40005"/>
                    <a:pt x="776288" y="95250"/>
                  </a:cubicBezTo>
                  <a:cubicBezTo>
                    <a:pt x="776288" y="150495"/>
                    <a:pt x="739140" y="191453"/>
                    <a:pt x="686753" y="191453"/>
                  </a:cubicBezTo>
                  <a:cubicBezTo>
                    <a:pt x="661988" y="191453"/>
                    <a:pt x="641985" y="182880"/>
                    <a:pt x="627698" y="167640"/>
                  </a:cubicBezTo>
                  <a:lnTo>
                    <a:pt x="627698" y="262890"/>
                  </a:lnTo>
                  <a:lnTo>
                    <a:pt x="587693" y="262890"/>
                  </a:lnTo>
                  <a:lnTo>
                    <a:pt x="587693" y="4763"/>
                  </a:lnTo>
                  <a:lnTo>
                    <a:pt x="626745" y="4763"/>
                  </a:lnTo>
                  <a:lnTo>
                    <a:pt x="626745" y="26670"/>
                  </a:lnTo>
                  <a:cubicBezTo>
                    <a:pt x="641985" y="8572"/>
                    <a:pt x="661035" y="0"/>
                    <a:pt x="686753" y="0"/>
                  </a:cubicBezTo>
                  <a:close/>
                  <a:moveTo>
                    <a:pt x="1204913" y="4763"/>
                  </a:moveTo>
                  <a:lnTo>
                    <a:pt x="1042035" y="4763"/>
                  </a:lnTo>
                  <a:lnTo>
                    <a:pt x="1042035" y="40957"/>
                  </a:lnTo>
                  <a:lnTo>
                    <a:pt x="1103948" y="40957"/>
                  </a:lnTo>
                  <a:lnTo>
                    <a:pt x="1103948" y="186690"/>
                  </a:lnTo>
                  <a:lnTo>
                    <a:pt x="1143953" y="186690"/>
                  </a:lnTo>
                  <a:lnTo>
                    <a:pt x="1143953" y="40957"/>
                  </a:lnTo>
                  <a:lnTo>
                    <a:pt x="1205865" y="40957"/>
                  </a:lnTo>
                  <a:lnTo>
                    <a:pt x="1205865" y="4763"/>
                  </a:lnTo>
                  <a:lnTo>
                    <a:pt x="1204913" y="4763"/>
                  </a:lnTo>
                  <a:close/>
                  <a:moveTo>
                    <a:pt x="365760" y="4763"/>
                  </a:moveTo>
                  <a:lnTo>
                    <a:pt x="202883" y="4763"/>
                  </a:lnTo>
                  <a:lnTo>
                    <a:pt x="202883" y="40957"/>
                  </a:lnTo>
                  <a:lnTo>
                    <a:pt x="264795" y="40957"/>
                  </a:lnTo>
                  <a:lnTo>
                    <a:pt x="264795" y="186690"/>
                  </a:lnTo>
                  <a:lnTo>
                    <a:pt x="303848" y="186690"/>
                  </a:lnTo>
                  <a:lnTo>
                    <a:pt x="303848" y="40957"/>
                  </a:lnTo>
                  <a:lnTo>
                    <a:pt x="365760" y="40957"/>
                  </a:lnTo>
                  <a:lnTo>
                    <a:pt x="365760" y="4763"/>
                  </a:lnTo>
                  <a:close/>
                  <a:moveTo>
                    <a:pt x="154305" y="96203"/>
                  </a:moveTo>
                  <a:cubicBezTo>
                    <a:pt x="154305" y="61913"/>
                    <a:pt x="130493" y="37147"/>
                    <a:pt x="97155" y="37147"/>
                  </a:cubicBezTo>
                  <a:cubicBezTo>
                    <a:pt x="63818" y="37147"/>
                    <a:pt x="40005" y="61913"/>
                    <a:pt x="40005" y="96203"/>
                  </a:cubicBezTo>
                  <a:cubicBezTo>
                    <a:pt x="40005" y="130492"/>
                    <a:pt x="63818" y="155258"/>
                    <a:pt x="97155" y="155258"/>
                  </a:cubicBezTo>
                  <a:cubicBezTo>
                    <a:pt x="129540" y="155258"/>
                    <a:pt x="154305" y="130492"/>
                    <a:pt x="154305" y="96203"/>
                  </a:cubicBezTo>
                  <a:close/>
                  <a:moveTo>
                    <a:pt x="0" y="96203"/>
                  </a:moveTo>
                  <a:cubicBezTo>
                    <a:pt x="0" y="41910"/>
                    <a:pt x="41910" y="952"/>
                    <a:pt x="98108" y="952"/>
                  </a:cubicBezTo>
                  <a:cubicBezTo>
                    <a:pt x="154305" y="952"/>
                    <a:pt x="196215" y="41910"/>
                    <a:pt x="196215" y="96203"/>
                  </a:cubicBezTo>
                  <a:cubicBezTo>
                    <a:pt x="196215" y="150495"/>
                    <a:pt x="154305" y="192405"/>
                    <a:pt x="98108" y="192405"/>
                  </a:cubicBezTo>
                  <a:cubicBezTo>
                    <a:pt x="41910" y="192405"/>
                    <a:pt x="0" y="150495"/>
                    <a:pt x="0" y="96203"/>
                  </a:cubicBezTo>
                  <a:close/>
                  <a:moveTo>
                    <a:pt x="1398270" y="4763"/>
                  </a:moveTo>
                  <a:lnTo>
                    <a:pt x="1398270" y="186690"/>
                  </a:lnTo>
                  <a:lnTo>
                    <a:pt x="1359218" y="186690"/>
                  </a:lnTo>
                  <a:lnTo>
                    <a:pt x="1359218" y="69532"/>
                  </a:lnTo>
                  <a:lnTo>
                    <a:pt x="1263968" y="186690"/>
                  </a:lnTo>
                  <a:lnTo>
                    <a:pt x="1232535" y="186690"/>
                  </a:lnTo>
                  <a:lnTo>
                    <a:pt x="1232535" y="4763"/>
                  </a:lnTo>
                  <a:lnTo>
                    <a:pt x="1271588" y="4763"/>
                  </a:lnTo>
                  <a:lnTo>
                    <a:pt x="1271588" y="121920"/>
                  </a:lnTo>
                  <a:lnTo>
                    <a:pt x="1366838" y="4763"/>
                  </a:lnTo>
                  <a:cubicBezTo>
                    <a:pt x="1366838" y="4763"/>
                    <a:pt x="1398270" y="4763"/>
                    <a:pt x="1398270" y="4763"/>
                  </a:cubicBezTo>
                  <a:close/>
                  <a:moveTo>
                    <a:pt x="1015365" y="186690"/>
                  </a:moveTo>
                  <a:lnTo>
                    <a:pt x="976313" y="186690"/>
                  </a:lnTo>
                  <a:lnTo>
                    <a:pt x="976313" y="4763"/>
                  </a:lnTo>
                  <a:lnTo>
                    <a:pt x="1015365" y="4763"/>
                  </a:lnTo>
                  <a:lnTo>
                    <a:pt x="1015365" y="186690"/>
                  </a:lnTo>
                  <a:close/>
                  <a:moveTo>
                    <a:pt x="913448" y="124778"/>
                  </a:moveTo>
                  <a:cubicBezTo>
                    <a:pt x="913448" y="108585"/>
                    <a:pt x="902018" y="97155"/>
                    <a:pt x="886778" y="97155"/>
                  </a:cubicBezTo>
                  <a:lnTo>
                    <a:pt x="846773" y="97155"/>
                  </a:lnTo>
                  <a:lnTo>
                    <a:pt x="846773" y="153353"/>
                  </a:lnTo>
                  <a:lnTo>
                    <a:pt x="886778" y="153353"/>
                  </a:lnTo>
                  <a:cubicBezTo>
                    <a:pt x="902018" y="153353"/>
                    <a:pt x="913448" y="140970"/>
                    <a:pt x="913448" y="124778"/>
                  </a:cubicBezTo>
                  <a:close/>
                  <a:moveTo>
                    <a:pt x="953453" y="124778"/>
                  </a:moveTo>
                  <a:cubicBezTo>
                    <a:pt x="953453" y="160973"/>
                    <a:pt x="926782" y="186690"/>
                    <a:pt x="888682" y="186690"/>
                  </a:cubicBezTo>
                  <a:lnTo>
                    <a:pt x="808673" y="186690"/>
                  </a:lnTo>
                  <a:lnTo>
                    <a:pt x="808673" y="4763"/>
                  </a:lnTo>
                  <a:lnTo>
                    <a:pt x="847725" y="4763"/>
                  </a:lnTo>
                  <a:lnTo>
                    <a:pt x="847725" y="63817"/>
                  </a:lnTo>
                  <a:lnTo>
                    <a:pt x="892493" y="63817"/>
                  </a:lnTo>
                  <a:cubicBezTo>
                    <a:pt x="929640" y="63817"/>
                    <a:pt x="953453" y="87630"/>
                    <a:pt x="953453" y="124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17" name="Google Shape;1017;p16"/>
          <p:cNvGrpSpPr/>
          <p:nvPr/>
        </p:nvGrpSpPr>
        <p:grpSpPr>
          <a:xfrm>
            <a:off x="823295" y="1348066"/>
            <a:ext cx="2651425" cy="345863"/>
            <a:chOff x="7406975" y="5855999"/>
            <a:chExt cx="2270483" cy="296171"/>
          </a:xfrm>
        </p:grpSpPr>
        <p:sp>
          <p:nvSpPr>
            <p:cNvPr id="1018" name="Google Shape;1018;p16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9" name="Google Shape;1019;p16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0" name="Google Shape;1020;p16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1" name="Google Shape;1021;p16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2" name="Google Shape;1022;p16"/>
          <p:cNvSpPr txBox="1"/>
          <p:nvPr/>
        </p:nvSpPr>
        <p:spPr>
          <a:xfrm>
            <a:off x="723776" y="2495424"/>
            <a:ext cx="4350871" cy="1754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5400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Где конец –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5400" b="1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там начало!</a:t>
            </a:r>
            <a:endParaRPr/>
          </a:p>
        </p:txBody>
      </p:sp>
      <p:pic>
        <p:nvPicPr>
          <p:cNvPr id="1023" name="Google Shape;1023;p1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75075" y="661079"/>
            <a:ext cx="5146647" cy="563173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24" name="Google Shape;1024;p16"/>
          <p:cNvGrpSpPr/>
          <p:nvPr/>
        </p:nvGrpSpPr>
        <p:grpSpPr>
          <a:xfrm>
            <a:off x="823295" y="5509934"/>
            <a:ext cx="3202071" cy="815366"/>
            <a:chOff x="1217541" y="5509934"/>
            <a:chExt cx="3202071" cy="815366"/>
          </a:xfrm>
        </p:grpSpPr>
        <p:grpSp>
          <p:nvGrpSpPr>
            <p:cNvPr id="1025" name="Google Shape;1025;p16"/>
            <p:cNvGrpSpPr/>
            <p:nvPr/>
          </p:nvGrpSpPr>
          <p:grpSpPr>
            <a:xfrm>
              <a:off x="1217541" y="5509934"/>
              <a:ext cx="3202071" cy="815366"/>
              <a:chOff x="478199" y="1484302"/>
              <a:chExt cx="3202071" cy="815366"/>
            </a:xfrm>
          </p:grpSpPr>
          <p:sp>
            <p:nvSpPr>
              <p:cNvPr id="1026" name="Google Shape;1026;p16"/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14901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027" name="Google Shape;1027;p16"/>
              <p:cNvSpPr txBox="1"/>
              <p:nvPr/>
            </p:nvSpPr>
            <p:spPr>
              <a:xfrm>
                <a:off x="1307014" y="1628386"/>
                <a:ext cx="1931400" cy="184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200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rPr>
                  <a:t>Иван Зипухо</a:t>
                </a:r>
                <a:endParaRPr sz="1200">
                  <a:solidFill>
                    <a:srgbClr val="00BEF0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028" name="Google Shape;1028;p16"/>
              <p:cNvSpPr txBox="1"/>
              <p:nvPr/>
            </p:nvSpPr>
            <p:spPr>
              <a:xfrm>
                <a:off x="1307013" y="1867968"/>
                <a:ext cx="2169000" cy="431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Архитектор DWH и MDM, </a:t>
                </a:r>
                <a:endParaRPr sz="1100">
                  <a:solidFill>
                    <a:schemeClr val="dk1"/>
                  </a:solidFill>
                  <a:latin typeface="Roboto Light"/>
                  <a:ea typeface="Roboto Light"/>
                  <a:cs typeface="Roboto Light"/>
                  <a:sym typeface="Roboto Light"/>
                </a:endParaRPr>
              </a:p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банк «Открытие»</a:t>
                </a:r>
                <a:endParaRPr sz="1100">
                  <a:solidFill>
                    <a:schemeClr val="dk1"/>
                  </a:solidFill>
                  <a:latin typeface="Roboto Light"/>
                  <a:ea typeface="Roboto Light"/>
                  <a:cs typeface="Roboto Light"/>
                  <a:sym typeface="Roboto Light"/>
                </a:endParaRPr>
              </a:p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100">
                  <a:solidFill>
                    <a:schemeClr val="dk1"/>
                  </a:solidFill>
                  <a:latin typeface="Roboto Light"/>
                  <a:ea typeface="Roboto Light"/>
                  <a:cs typeface="Roboto Light"/>
                  <a:sym typeface="Roboto Light"/>
                </a:endParaRPr>
              </a:p>
            </p:txBody>
          </p:sp>
        </p:grpSp>
        <p:pic>
          <p:nvPicPr>
            <p:cNvPr id="1029" name="Google Shape;1029;p16"/>
            <p:cNvPicPr preferRelativeResize="0"/>
            <p:nvPr/>
          </p:nvPicPr>
          <p:blipFill rotWithShape="1">
            <a:blip r:embed="rId5">
              <a:alphaModFix/>
            </a:blip>
            <a:srcRect t="58" b="57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/>
              <a:ahLst/>
              <a:cxnLst/>
              <a:rect l="l" t="t" r="r" b="b"/>
              <a:pathLst>
                <a:path w="571500" h="571500" extrusionOk="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  <p:grpSp>
        <p:nvGrpSpPr>
          <p:cNvPr id="1030" name="Google Shape;1030;p16"/>
          <p:cNvGrpSpPr/>
          <p:nvPr/>
        </p:nvGrpSpPr>
        <p:grpSpPr>
          <a:xfrm>
            <a:off x="4375069" y="5509934"/>
            <a:ext cx="3202071" cy="762000"/>
            <a:chOff x="1217541" y="5509934"/>
            <a:chExt cx="3202071" cy="762000"/>
          </a:xfrm>
        </p:grpSpPr>
        <p:grpSp>
          <p:nvGrpSpPr>
            <p:cNvPr id="1031" name="Google Shape;1031;p16"/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032" name="Google Shape;1032;p16"/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14901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033" name="Google Shape;1033;p16"/>
              <p:cNvSpPr txBox="1"/>
              <p:nvPr/>
            </p:nvSpPr>
            <p:spPr>
              <a:xfrm>
                <a:off x="1307014" y="1586928"/>
                <a:ext cx="1931448" cy="2185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200">
                    <a:solidFill>
                      <a:schemeClr val="lt2"/>
                    </a:solidFill>
                    <a:latin typeface="Roboto"/>
                    <a:ea typeface="Roboto"/>
                    <a:cs typeface="Roboto"/>
                    <a:sym typeface="Roboto"/>
                  </a:rPr>
                  <a:t>Ника Суслова</a:t>
                </a:r>
                <a:endParaRPr/>
              </a:p>
            </p:txBody>
          </p:sp>
          <p:sp>
            <p:nvSpPr>
              <p:cNvPr id="1034" name="Google Shape;1034;p16"/>
              <p:cNvSpPr txBox="1"/>
              <p:nvPr/>
            </p:nvSpPr>
            <p:spPr>
              <a:xfrm>
                <a:off x="1307014" y="1830776"/>
                <a:ext cx="2133366" cy="2877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Директор по банковской практике, HFLabs</a:t>
                </a:r>
                <a:endParaRPr/>
              </a:p>
            </p:txBody>
          </p:sp>
        </p:grpSp>
        <p:pic>
          <p:nvPicPr>
            <p:cNvPr id="1035" name="Google Shape;1035;p16"/>
            <p:cNvPicPr preferRelativeResize="0"/>
            <p:nvPr/>
          </p:nvPicPr>
          <p:blipFill rotWithShape="1">
            <a:blip r:embed="rId6">
              <a:alphaModFix/>
            </a:blip>
            <a:srcRect l="196" t="1" r="12527" b="43392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/>
              <a:ahLst/>
              <a:cxnLst/>
              <a:rect l="l" t="t" r="r" b="b"/>
              <a:pathLst>
                <a:path w="571500" h="571500" extrusionOk="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</p:spTree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3"/>
          <p:cNvSpPr/>
          <p:nvPr/>
        </p:nvSpPr>
        <p:spPr>
          <a:xfrm>
            <a:off x="0" y="2097984"/>
            <a:ext cx="12192000" cy="2587890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28" name="Google Shape;128;p3"/>
          <p:cNvSpPr/>
          <p:nvPr/>
        </p:nvSpPr>
        <p:spPr>
          <a:xfrm>
            <a:off x="2943394" y="3266944"/>
            <a:ext cx="9490283" cy="349250"/>
          </a:xfrm>
          <a:prstGeom prst="roundRect">
            <a:avLst>
              <a:gd name="adj" fmla="val 5000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29" name="Google Shape;129;p3"/>
          <p:cNvSpPr txBox="1"/>
          <p:nvPr/>
        </p:nvSpPr>
        <p:spPr>
          <a:xfrm>
            <a:off x="630183" y="376044"/>
            <a:ext cx="5118709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Как всё началось?</a:t>
            </a:r>
            <a:endParaRPr/>
          </a:p>
        </p:txBody>
      </p:sp>
      <p:grpSp>
        <p:nvGrpSpPr>
          <p:cNvPr id="130" name="Google Shape;130;p3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131" name="Google Shape;131;p3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132;p3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133;p3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134;p3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35" name="Google Shape;135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6" name="Google Shape;136;p3"/>
          <p:cNvGrpSpPr/>
          <p:nvPr/>
        </p:nvGrpSpPr>
        <p:grpSpPr>
          <a:xfrm>
            <a:off x="260269" y="1831191"/>
            <a:ext cx="3202071" cy="762000"/>
            <a:chOff x="1217541" y="5509934"/>
            <a:chExt cx="3202071" cy="762000"/>
          </a:xfrm>
        </p:grpSpPr>
        <p:grpSp>
          <p:nvGrpSpPr>
            <p:cNvPr id="137" name="Google Shape;137;p3"/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38" name="Google Shape;138;p3"/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14901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39" name="Google Shape;139;p3"/>
              <p:cNvSpPr txBox="1"/>
              <p:nvPr/>
            </p:nvSpPr>
            <p:spPr>
              <a:xfrm>
                <a:off x="1307014" y="1586928"/>
                <a:ext cx="1931448" cy="2185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200">
                    <a:solidFill>
                      <a:schemeClr val="lt2"/>
                    </a:solidFill>
                    <a:latin typeface="Roboto"/>
                    <a:ea typeface="Roboto"/>
                    <a:cs typeface="Roboto"/>
                    <a:sym typeface="Roboto"/>
                  </a:rPr>
                  <a:t>Ника Суслова</a:t>
                </a:r>
                <a:endParaRPr/>
              </a:p>
            </p:txBody>
          </p:sp>
          <p:sp>
            <p:nvSpPr>
              <p:cNvPr id="140" name="Google Shape;140;p3"/>
              <p:cNvSpPr txBox="1"/>
              <p:nvPr/>
            </p:nvSpPr>
            <p:spPr>
              <a:xfrm>
                <a:off x="1307014" y="1830776"/>
                <a:ext cx="2133366" cy="28777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Директор по банковской практике, HFLabs</a:t>
                </a:r>
                <a:endParaRPr/>
              </a:p>
            </p:txBody>
          </p:sp>
        </p:grpSp>
        <p:pic>
          <p:nvPicPr>
            <p:cNvPr id="141" name="Google Shape;141;p3"/>
            <p:cNvPicPr preferRelativeResize="0"/>
            <p:nvPr/>
          </p:nvPicPr>
          <p:blipFill rotWithShape="1">
            <a:blip r:embed="rId4">
              <a:alphaModFix/>
            </a:blip>
            <a:srcRect l="196" t="1" r="12527" b="43392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/>
              <a:ahLst/>
              <a:cxnLst/>
              <a:rect l="l" t="t" r="r" b="b"/>
              <a:pathLst>
                <a:path w="571500" h="571500" extrusionOk="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  <p:grpSp>
        <p:nvGrpSpPr>
          <p:cNvPr id="142" name="Google Shape;142;p3"/>
          <p:cNvGrpSpPr/>
          <p:nvPr/>
        </p:nvGrpSpPr>
        <p:grpSpPr>
          <a:xfrm>
            <a:off x="260269" y="4174456"/>
            <a:ext cx="3202071" cy="762000"/>
            <a:chOff x="1217541" y="5509934"/>
            <a:chExt cx="3202071" cy="762000"/>
          </a:xfrm>
        </p:grpSpPr>
        <p:grpSp>
          <p:nvGrpSpPr>
            <p:cNvPr id="143" name="Google Shape;143;p3"/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44" name="Google Shape;144;p3"/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14901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45" name="Google Shape;145;p3"/>
              <p:cNvSpPr txBox="1"/>
              <p:nvPr/>
            </p:nvSpPr>
            <p:spPr>
              <a:xfrm>
                <a:off x="1307014" y="1628386"/>
                <a:ext cx="1931400" cy="1848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200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rPr>
                  <a:t>Иван Зипухо</a:t>
                </a:r>
                <a:endParaRPr sz="1200">
                  <a:solidFill>
                    <a:srgbClr val="00BEF0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146" name="Google Shape;146;p3"/>
              <p:cNvSpPr txBox="1"/>
              <p:nvPr/>
            </p:nvSpPr>
            <p:spPr>
              <a:xfrm>
                <a:off x="1283838" y="1855518"/>
                <a:ext cx="2169000" cy="2877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marL="0" marR="0" lvl="0" indent="0" algn="l" rtl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Архитектор DWH и MDM, </a:t>
                </a:r>
                <a:b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</a:br>
                <a:r>
                  <a:rPr lang="ru-RU" sz="1100">
                    <a:solidFill>
                      <a:schemeClr val="dk1"/>
                    </a:solidFill>
                    <a:latin typeface="Roboto Light"/>
                    <a:ea typeface="Roboto Light"/>
                    <a:cs typeface="Roboto Light"/>
                    <a:sym typeface="Roboto Light"/>
                  </a:rPr>
                  <a:t>банк «Открытие»</a:t>
                </a:r>
                <a:endParaRPr sz="1100">
                  <a:solidFill>
                    <a:schemeClr val="dk1"/>
                  </a:solidFill>
                  <a:latin typeface="Roboto Light"/>
                  <a:ea typeface="Roboto Light"/>
                  <a:cs typeface="Roboto Light"/>
                  <a:sym typeface="Roboto Light"/>
                </a:endParaRPr>
              </a:p>
            </p:txBody>
          </p:sp>
        </p:grpSp>
        <p:pic>
          <p:nvPicPr>
            <p:cNvPr id="147" name="Google Shape;147;p3"/>
            <p:cNvPicPr preferRelativeResize="0"/>
            <p:nvPr/>
          </p:nvPicPr>
          <p:blipFill rotWithShape="1">
            <a:blip r:embed="rId5">
              <a:alphaModFix/>
            </a:blip>
            <a:srcRect t="58" b="57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/>
              <a:ahLst/>
              <a:cxnLst/>
              <a:rect l="l" t="t" r="r" b="b"/>
              <a:pathLst>
                <a:path w="571500" h="571500" extrusionOk="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  <p:sp>
        <p:nvSpPr>
          <p:cNvPr id="148" name="Google Shape;148;p3"/>
          <p:cNvSpPr txBox="1"/>
          <p:nvPr/>
        </p:nvSpPr>
        <p:spPr>
          <a:xfrm>
            <a:off x="3654301" y="3287675"/>
            <a:ext cx="7536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2014</a:t>
            </a:r>
            <a:endParaRPr/>
          </a:p>
        </p:txBody>
      </p:sp>
      <p:sp>
        <p:nvSpPr>
          <p:cNvPr id="149" name="Google Shape;149;p3"/>
          <p:cNvSpPr txBox="1"/>
          <p:nvPr/>
        </p:nvSpPr>
        <p:spPr>
          <a:xfrm>
            <a:off x="6367418" y="3667925"/>
            <a:ext cx="58242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dirty="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2017 </a:t>
            </a:r>
            <a:endParaRPr dirty="0"/>
          </a:p>
        </p:txBody>
      </p:sp>
      <p:sp>
        <p:nvSpPr>
          <p:cNvPr id="150" name="Google Shape;150;p3"/>
          <p:cNvSpPr txBox="1"/>
          <p:nvPr/>
        </p:nvSpPr>
        <p:spPr>
          <a:xfrm>
            <a:off x="7555202" y="2868066"/>
            <a:ext cx="110827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dirty="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март 2018 </a:t>
            </a:r>
            <a:endParaRPr dirty="0"/>
          </a:p>
        </p:txBody>
      </p:sp>
      <p:grpSp>
        <p:nvGrpSpPr>
          <p:cNvPr id="151" name="Google Shape;151;p3"/>
          <p:cNvGrpSpPr/>
          <p:nvPr/>
        </p:nvGrpSpPr>
        <p:grpSpPr>
          <a:xfrm>
            <a:off x="5782220" y="2393414"/>
            <a:ext cx="1757259" cy="403444"/>
            <a:chOff x="3631773" y="2029636"/>
            <a:chExt cx="1757259" cy="403444"/>
          </a:xfrm>
        </p:grpSpPr>
        <p:sp>
          <p:nvSpPr>
            <p:cNvPr id="152" name="Google Shape;152;p3"/>
            <p:cNvSpPr/>
            <p:nvPr/>
          </p:nvSpPr>
          <p:spPr>
            <a:xfrm>
              <a:off x="3631773" y="2029636"/>
              <a:ext cx="1757259" cy="403444"/>
            </a:xfrm>
            <a:prstGeom prst="roundRect">
              <a:avLst>
                <a:gd name="adj" fmla="val 50000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100">
                  <a:solidFill>
                    <a:schemeClr val="dk1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     Ушла из банка</a:t>
              </a:r>
              <a:endParaRPr sz="1100">
                <a:solidFill>
                  <a:schemeClr val="dk1"/>
                </a:solidFill>
                <a:latin typeface="Roboto Light"/>
                <a:ea typeface="Roboto Light"/>
                <a:cs typeface="Roboto Light"/>
                <a:sym typeface="Roboto Light"/>
              </a:endParaRPr>
            </a:p>
          </p:txBody>
        </p:sp>
        <p:sp>
          <p:nvSpPr>
            <p:cNvPr id="153" name="Google Shape;153;p3"/>
            <p:cNvSpPr/>
            <p:nvPr/>
          </p:nvSpPr>
          <p:spPr>
            <a:xfrm>
              <a:off x="3732369" y="2098856"/>
              <a:ext cx="247073" cy="247073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sp>
        <p:nvSpPr>
          <p:cNvPr id="154" name="Google Shape;154;p3"/>
          <p:cNvSpPr txBox="1"/>
          <p:nvPr/>
        </p:nvSpPr>
        <p:spPr>
          <a:xfrm>
            <a:off x="10437902" y="3280504"/>
            <a:ext cx="1470274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Настоящие дни</a:t>
            </a:r>
            <a:endParaRPr/>
          </a:p>
        </p:txBody>
      </p:sp>
      <p:cxnSp>
        <p:nvCxnSpPr>
          <p:cNvPr id="155" name="Google Shape;155;p3"/>
          <p:cNvCxnSpPr/>
          <p:nvPr/>
        </p:nvCxnSpPr>
        <p:spPr>
          <a:xfrm>
            <a:off x="6658628" y="2990968"/>
            <a:ext cx="0" cy="626488"/>
          </a:xfrm>
          <a:prstGeom prst="straightConnector1">
            <a:avLst/>
          </a:prstGeom>
          <a:noFill/>
          <a:ln w="28575" cap="flat" cmpd="sng">
            <a:solidFill>
              <a:schemeClr val="lt2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156" name="Google Shape;156;p3"/>
          <p:cNvGrpSpPr/>
          <p:nvPr/>
        </p:nvGrpSpPr>
        <p:grpSpPr>
          <a:xfrm>
            <a:off x="4601498" y="2990970"/>
            <a:ext cx="0" cy="904758"/>
            <a:chOff x="8916924" y="3059859"/>
            <a:chExt cx="0" cy="758557"/>
          </a:xfrm>
        </p:grpSpPr>
        <p:cxnSp>
          <p:nvCxnSpPr>
            <p:cNvPr id="157" name="Google Shape;157;p3"/>
            <p:cNvCxnSpPr/>
            <p:nvPr/>
          </p:nvCxnSpPr>
          <p:spPr>
            <a:xfrm>
              <a:off x="8916924" y="3059859"/>
              <a:ext cx="0" cy="414170"/>
            </a:xfrm>
            <a:prstGeom prst="straightConnector1">
              <a:avLst/>
            </a:prstGeom>
            <a:noFill/>
            <a:ln w="28575" cap="flat" cmpd="sng">
              <a:solidFill>
                <a:schemeClr val="lt2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158" name="Google Shape;158;p3"/>
            <p:cNvCxnSpPr/>
            <p:nvPr/>
          </p:nvCxnSpPr>
          <p:spPr>
            <a:xfrm>
              <a:off x="8916924" y="3347249"/>
              <a:ext cx="0" cy="471167"/>
            </a:xfrm>
            <a:prstGeom prst="straightConnector1">
              <a:avLst/>
            </a:prstGeom>
            <a:noFill/>
            <a:ln w="28575" cap="flat" cmpd="sng">
              <a:solidFill>
                <a:srgbClr val="00BEF0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59" name="Google Shape;159;p3"/>
          <p:cNvGrpSpPr/>
          <p:nvPr/>
        </p:nvGrpSpPr>
        <p:grpSpPr>
          <a:xfrm>
            <a:off x="3713831" y="4101447"/>
            <a:ext cx="1743945" cy="403444"/>
            <a:chOff x="3713831" y="3874185"/>
            <a:chExt cx="1743945" cy="403444"/>
          </a:xfrm>
        </p:grpSpPr>
        <p:sp>
          <p:nvSpPr>
            <p:cNvPr id="160" name="Google Shape;160;p3"/>
            <p:cNvSpPr/>
            <p:nvPr/>
          </p:nvSpPr>
          <p:spPr>
            <a:xfrm>
              <a:off x="3713831" y="3874185"/>
              <a:ext cx="1743945" cy="403444"/>
            </a:xfrm>
            <a:prstGeom prst="roundRect">
              <a:avLst>
                <a:gd name="adj" fmla="val 50000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61" name="Google Shape;161;p3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016258" y="3927855"/>
              <a:ext cx="965777" cy="265462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62" name="Google Shape;162;p3"/>
          <p:cNvCxnSpPr/>
          <p:nvPr/>
        </p:nvCxnSpPr>
        <p:spPr>
          <a:xfrm>
            <a:off x="8109337" y="3250261"/>
            <a:ext cx="0" cy="623096"/>
          </a:xfrm>
          <a:prstGeom prst="straightConnector1">
            <a:avLst/>
          </a:prstGeom>
          <a:noFill/>
          <a:ln w="28575" cap="flat" cmpd="sng">
            <a:solidFill>
              <a:srgbClr val="00BEF0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63" name="Google Shape;163;p3"/>
          <p:cNvCxnSpPr/>
          <p:nvPr/>
        </p:nvCxnSpPr>
        <p:spPr>
          <a:xfrm>
            <a:off x="9732165" y="2990968"/>
            <a:ext cx="0" cy="625226"/>
          </a:xfrm>
          <a:prstGeom prst="straightConnector1">
            <a:avLst/>
          </a:prstGeom>
          <a:noFill/>
          <a:ln w="28575" cap="flat" cmpd="sng">
            <a:solidFill>
              <a:schemeClr val="lt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3"/>
          <p:cNvSpPr txBox="1"/>
          <p:nvPr/>
        </p:nvSpPr>
        <p:spPr>
          <a:xfrm>
            <a:off x="9074038" y="3667925"/>
            <a:ext cx="1316254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dirty="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декабрь 2018</a:t>
            </a:r>
            <a:endParaRPr dirty="0"/>
          </a:p>
        </p:txBody>
      </p:sp>
      <p:grpSp>
        <p:nvGrpSpPr>
          <p:cNvPr id="165" name="Google Shape;165;p3"/>
          <p:cNvGrpSpPr/>
          <p:nvPr/>
        </p:nvGrpSpPr>
        <p:grpSpPr>
          <a:xfrm>
            <a:off x="3675809" y="2386393"/>
            <a:ext cx="1743945" cy="403444"/>
            <a:chOff x="3675809" y="2606946"/>
            <a:chExt cx="1743945" cy="403444"/>
          </a:xfrm>
        </p:grpSpPr>
        <p:sp>
          <p:nvSpPr>
            <p:cNvPr id="166" name="Google Shape;166;p3"/>
            <p:cNvSpPr/>
            <p:nvPr/>
          </p:nvSpPr>
          <p:spPr>
            <a:xfrm>
              <a:off x="3675809" y="2606946"/>
              <a:ext cx="1743945" cy="403444"/>
            </a:xfrm>
            <a:prstGeom prst="roundRect">
              <a:avLst>
                <a:gd name="adj" fmla="val 50000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67" name="Google Shape;167;p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790996" y="2679417"/>
              <a:ext cx="1413422" cy="27254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8" name="Google Shape;168;p3"/>
          <p:cNvGrpSpPr/>
          <p:nvPr/>
        </p:nvGrpSpPr>
        <p:grpSpPr>
          <a:xfrm>
            <a:off x="7267851" y="4117357"/>
            <a:ext cx="1743945" cy="403444"/>
            <a:chOff x="3675809" y="2606946"/>
            <a:chExt cx="1743945" cy="403444"/>
          </a:xfrm>
        </p:grpSpPr>
        <p:sp>
          <p:nvSpPr>
            <p:cNvPr id="169" name="Google Shape;169;p3"/>
            <p:cNvSpPr/>
            <p:nvPr/>
          </p:nvSpPr>
          <p:spPr>
            <a:xfrm>
              <a:off x="3675809" y="2606946"/>
              <a:ext cx="1743945" cy="403444"/>
            </a:xfrm>
            <a:prstGeom prst="roundRect">
              <a:avLst>
                <a:gd name="adj" fmla="val 50000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70" name="Google Shape;170;p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790996" y="2679417"/>
              <a:ext cx="1413422" cy="27254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71" name="Google Shape;171;p3"/>
          <p:cNvGrpSpPr/>
          <p:nvPr/>
        </p:nvGrpSpPr>
        <p:grpSpPr>
          <a:xfrm>
            <a:off x="8889590" y="2384448"/>
            <a:ext cx="1743945" cy="403444"/>
            <a:chOff x="3675809" y="2606946"/>
            <a:chExt cx="1743945" cy="403444"/>
          </a:xfrm>
        </p:grpSpPr>
        <p:sp>
          <p:nvSpPr>
            <p:cNvPr id="172" name="Google Shape;172;p3"/>
            <p:cNvSpPr/>
            <p:nvPr/>
          </p:nvSpPr>
          <p:spPr>
            <a:xfrm>
              <a:off x="3675809" y="2606946"/>
              <a:ext cx="1743945" cy="403444"/>
            </a:xfrm>
            <a:prstGeom prst="roundRect">
              <a:avLst>
                <a:gd name="adj" fmla="val 50000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173" name="Google Shape;173;p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841070" y="2696092"/>
              <a:ext cx="1413422" cy="23919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74" name="Google Shape;174;p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 rot="5400000">
            <a:off x="5543486" y="2466104"/>
            <a:ext cx="136741" cy="240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p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 rot="5400000">
            <a:off x="8579542" y="2466104"/>
            <a:ext cx="136741" cy="2401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3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 rot="5400000">
            <a:off x="6940010" y="4216988"/>
            <a:ext cx="136741" cy="2401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"/>
          <p:cNvSpPr/>
          <p:nvPr/>
        </p:nvSpPr>
        <p:spPr>
          <a:xfrm>
            <a:off x="0" y="217648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2" name="Google Shape;182;p2"/>
          <p:cNvSpPr/>
          <p:nvPr/>
        </p:nvSpPr>
        <p:spPr>
          <a:xfrm>
            <a:off x="8757491" y="1749491"/>
            <a:ext cx="2788657" cy="2799101"/>
          </a:xfrm>
          <a:prstGeom prst="roundRect">
            <a:avLst>
              <a:gd name="adj" fmla="val 8571"/>
            </a:avLst>
          </a:prstGeom>
          <a:solidFill>
            <a:schemeClr val="lt1"/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3" name="Google Shape;183;p2"/>
          <p:cNvSpPr/>
          <p:nvPr/>
        </p:nvSpPr>
        <p:spPr>
          <a:xfrm>
            <a:off x="635000" y="508914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4" name="Google Shape;184;p2"/>
          <p:cNvSpPr txBox="1"/>
          <p:nvPr/>
        </p:nvSpPr>
        <p:spPr>
          <a:xfrm>
            <a:off x="5883167" y="4089854"/>
            <a:ext cx="1685077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600" b="1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rPr>
              <a:t>2014 г.</a:t>
            </a:r>
            <a:endParaRPr/>
          </a:p>
        </p:txBody>
      </p:sp>
      <p:cxnSp>
        <p:nvCxnSpPr>
          <p:cNvPr id="185" name="Google Shape;185;p2"/>
          <p:cNvCxnSpPr/>
          <p:nvPr/>
        </p:nvCxnSpPr>
        <p:spPr>
          <a:xfrm>
            <a:off x="6722579" y="4736185"/>
            <a:ext cx="0" cy="702214"/>
          </a:xfrm>
          <a:prstGeom prst="straightConnector1">
            <a:avLst/>
          </a:prstGeom>
          <a:noFill/>
          <a:ln w="28575" cap="flat" cmpd="sng">
            <a:solidFill>
              <a:schemeClr val="lt2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86" name="Google Shape;186;p2"/>
          <p:cNvCxnSpPr/>
          <p:nvPr/>
        </p:nvCxnSpPr>
        <p:spPr>
          <a:xfrm>
            <a:off x="4280452" y="5114438"/>
            <a:ext cx="0" cy="323961"/>
          </a:xfrm>
          <a:prstGeom prst="straightConnector1">
            <a:avLst/>
          </a:prstGeom>
          <a:noFill/>
          <a:ln w="28575" cap="flat" cmpd="sng">
            <a:solidFill>
              <a:schemeClr val="dk1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87" name="Google Shape;187;p2"/>
          <p:cNvCxnSpPr/>
          <p:nvPr/>
        </p:nvCxnSpPr>
        <p:spPr>
          <a:xfrm>
            <a:off x="2425148" y="5114438"/>
            <a:ext cx="0" cy="323961"/>
          </a:xfrm>
          <a:prstGeom prst="straightConnector1">
            <a:avLst/>
          </a:prstGeom>
          <a:noFill/>
          <a:ln w="28575" cap="flat" cmpd="sng">
            <a:solidFill>
              <a:schemeClr val="dk1"/>
            </a:solidFill>
            <a:prstDash val="dash"/>
            <a:miter lim="800000"/>
            <a:headEnd type="none" w="sm" len="sm"/>
            <a:tailEnd type="none" w="sm" len="sm"/>
          </a:ln>
        </p:spPr>
      </p:cxnSp>
      <p:cxnSp>
        <p:nvCxnSpPr>
          <p:cNvPr id="188" name="Google Shape;188;p2"/>
          <p:cNvCxnSpPr/>
          <p:nvPr/>
        </p:nvCxnSpPr>
        <p:spPr>
          <a:xfrm>
            <a:off x="9800548" y="5114438"/>
            <a:ext cx="0" cy="323961"/>
          </a:xfrm>
          <a:prstGeom prst="straightConnector1">
            <a:avLst/>
          </a:prstGeom>
          <a:noFill/>
          <a:ln w="28575" cap="flat" cmpd="sng">
            <a:solidFill>
              <a:schemeClr val="dk1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189" name="Google Shape;189;p2"/>
          <p:cNvSpPr txBox="1"/>
          <p:nvPr/>
        </p:nvSpPr>
        <p:spPr>
          <a:xfrm>
            <a:off x="9041579" y="2001412"/>
            <a:ext cx="2220480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dirty="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«Единый клиент»</a:t>
            </a:r>
            <a:endParaRPr dirty="0"/>
          </a:p>
        </p:txBody>
      </p:sp>
      <p:sp>
        <p:nvSpPr>
          <p:cNvPr id="190" name="Google Shape;190;p2"/>
          <p:cNvSpPr/>
          <p:nvPr/>
        </p:nvSpPr>
        <p:spPr>
          <a:xfrm>
            <a:off x="630183" y="1749491"/>
            <a:ext cx="4063737" cy="2799101"/>
          </a:xfrm>
          <a:prstGeom prst="roundRect">
            <a:avLst>
              <a:gd name="adj" fmla="val 8571"/>
            </a:avLst>
          </a:prstGeom>
          <a:solidFill>
            <a:schemeClr val="lt1"/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191" name="Google Shape;191;p2"/>
          <p:cNvGrpSpPr/>
          <p:nvPr/>
        </p:nvGrpSpPr>
        <p:grpSpPr>
          <a:xfrm>
            <a:off x="9252369" y="2484399"/>
            <a:ext cx="1798900" cy="1785141"/>
            <a:chOff x="9141588" y="2080803"/>
            <a:chExt cx="2020578" cy="2005124"/>
          </a:xfrm>
        </p:grpSpPr>
        <p:sp>
          <p:nvSpPr>
            <p:cNvPr id="192" name="Google Shape;192;p2"/>
            <p:cNvSpPr/>
            <p:nvPr/>
          </p:nvSpPr>
          <p:spPr>
            <a:xfrm>
              <a:off x="10289981" y="2794439"/>
              <a:ext cx="184663" cy="294906"/>
            </a:xfrm>
            <a:custGeom>
              <a:avLst/>
              <a:gdLst/>
              <a:ahLst/>
              <a:cxnLst/>
              <a:rect l="l" t="t" r="r" b="b"/>
              <a:pathLst>
                <a:path w="184663" h="294906" extrusionOk="0">
                  <a:moveTo>
                    <a:pt x="15893" y="4498"/>
                  </a:moveTo>
                  <a:cubicBezTo>
                    <a:pt x="12442" y="5235"/>
                    <a:pt x="9286" y="7064"/>
                    <a:pt x="6956" y="9719"/>
                  </a:cubicBezTo>
                  <a:cubicBezTo>
                    <a:pt x="4626" y="12373"/>
                    <a:pt x="3181" y="15706"/>
                    <a:pt x="2856" y="19246"/>
                  </a:cubicBezTo>
                  <a:cubicBezTo>
                    <a:pt x="-7172" y="130828"/>
                    <a:pt x="11882" y="250345"/>
                    <a:pt x="18902" y="271287"/>
                  </a:cubicBezTo>
                  <a:cubicBezTo>
                    <a:pt x="19934" y="274148"/>
                    <a:pt x="21557" y="276773"/>
                    <a:pt x="23680" y="278986"/>
                  </a:cubicBezTo>
                  <a:cubicBezTo>
                    <a:pt x="25774" y="281198"/>
                    <a:pt x="28311" y="282938"/>
                    <a:pt x="31143" y="284118"/>
                  </a:cubicBezTo>
                  <a:cubicBezTo>
                    <a:pt x="46185" y="291344"/>
                    <a:pt x="88453" y="294736"/>
                    <a:pt x="122137" y="294736"/>
                  </a:cubicBezTo>
                  <a:cubicBezTo>
                    <a:pt x="136708" y="295385"/>
                    <a:pt x="151279" y="294176"/>
                    <a:pt x="165525" y="291138"/>
                  </a:cubicBezTo>
                  <a:cubicBezTo>
                    <a:pt x="167974" y="290165"/>
                    <a:pt x="170156" y="288660"/>
                    <a:pt x="171897" y="286684"/>
                  </a:cubicBezTo>
                  <a:cubicBezTo>
                    <a:pt x="173637" y="284708"/>
                    <a:pt x="174876" y="282348"/>
                    <a:pt x="175554" y="279811"/>
                  </a:cubicBezTo>
                  <a:cubicBezTo>
                    <a:pt x="178858" y="267187"/>
                    <a:pt x="180657" y="239697"/>
                    <a:pt x="184373" y="163805"/>
                  </a:cubicBezTo>
                  <a:cubicBezTo>
                    <a:pt x="187175" y="106258"/>
                    <a:pt x="169537" y="53520"/>
                    <a:pt x="137062" y="23434"/>
                  </a:cubicBezTo>
                  <a:cubicBezTo>
                    <a:pt x="98776" y="-11843"/>
                    <a:pt x="24034" y="2669"/>
                    <a:pt x="15923" y="4498"/>
                  </a:cubicBezTo>
                  <a:close/>
                  <a:moveTo>
                    <a:pt x="151456" y="162389"/>
                  </a:moveTo>
                  <a:cubicBezTo>
                    <a:pt x="149244" y="207901"/>
                    <a:pt x="147444" y="243296"/>
                    <a:pt x="145350" y="261229"/>
                  </a:cubicBezTo>
                  <a:cubicBezTo>
                    <a:pt x="113111" y="262792"/>
                    <a:pt x="80784" y="260875"/>
                    <a:pt x="48958" y="255507"/>
                  </a:cubicBezTo>
                  <a:cubicBezTo>
                    <a:pt x="35302" y="182829"/>
                    <a:pt x="30582" y="108765"/>
                    <a:pt x="34918" y="34937"/>
                  </a:cubicBezTo>
                  <a:cubicBezTo>
                    <a:pt x="57571" y="32017"/>
                    <a:pt x="96535" y="31132"/>
                    <a:pt x="115088" y="48063"/>
                  </a:cubicBezTo>
                  <a:cubicBezTo>
                    <a:pt x="140041" y="71719"/>
                    <a:pt x="154258" y="114429"/>
                    <a:pt x="151456" y="1623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193;p2"/>
            <p:cNvSpPr/>
            <p:nvPr/>
          </p:nvSpPr>
          <p:spPr>
            <a:xfrm>
              <a:off x="9768388" y="2275873"/>
              <a:ext cx="369594" cy="581022"/>
            </a:xfrm>
            <a:custGeom>
              <a:avLst/>
              <a:gdLst/>
              <a:ahLst/>
              <a:cxnLst/>
              <a:rect l="l" t="t" r="r" b="b"/>
              <a:pathLst>
                <a:path w="369594" h="581022" extrusionOk="0">
                  <a:moveTo>
                    <a:pt x="293084" y="253885"/>
                  </a:moveTo>
                  <a:lnTo>
                    <a:pt x="285061" y="253885"/>
                  </a:lnTo>
                  <a:cubicBezTo>
                    <a:pt x="268839" y="253885"/>
                    <a:pt x="241467" y="253885"/>
                    <a:pt x="234152" y="243856"/>
                  </a:cubicBezTo>
                  <a:cubicBezTo>
                    <a:pt x="231438" y="239786"/>
                    <a:pt x="229727" y="235155"/>
                    <a:pt x="229137" y="230318"/>
                  </a:cubicBezTo>
                  <a:cubicBezTo>
                    <a:pt x="228547" y="225480"/>
                    <a:pt x="229078" y="220555"/>
                    <a:pt x="230730" y="215983"/>
                  </a:cubicBezTo>
                  <a:cubicBezTo>
                    <a:pt x="233385" y="210054"/>
                    <a:pt x="237013" y="204597"/>
                    <a:pt x="241467" y="199849"/>
                  </a:cubicBezTo>
                  <a:cubicBezTo>
                    <a:pt x="248192" y="192416"/>
                    <a:pt x="253619" y="183921"/>
                    <a:pt x="257512" y="174689"/>
                  </a:cubicBezTo>
                  <a:cubicBezTo>
                    <a:pt x="263765" y="156372"/>
                    <a:pt x="268101" y="137465"/>
                    <a:pt x="270431" y="118234"/>
                  </a:cubicBezTo>
                  <a:cubicBezTo>
                    <a:pt x="272408" y="102837"/>
                    <a:pt x="271169" y="87204"/>
                    <a:pt x="266774" y="72309"/>
                  </a:cubicBezTo>
                  <a:cubicBezTo>
                    <a:pt x="262409" y="57413"/>
                    <a:pt x="254976" y="43609"/>
                    <a:pt x="244977" y="31723"/>
                  </a:cubicBezTo>
                  <a:cubicBezTo>
                    <a:pt x="236600" y="22284"/>
                    <a:pt x="226424" y="14645"/>
                    <a:pt x="215038" y="9217"/>
                  </a:cubicBezTo>
                  <a:cubicBezTo>
                    <a:pt x="203653" y="3790"/>
                    <a:pt x="191294" y="693"/>
                    <a:pt x="178699" y="103"/>
                  </a:cubicBezTo>
                  <a:cubicBezTo>
                    <a:pt x="166105" y="-487"/>
                    <a:pt x="153510" y="1460"/>
                    <a:pt x="141682" y="5825"/>
                  </a:cubicBezTo>
                  <a:cubicBezTo>
                    <a:pt x="129854" y="10191"/>
                    <a:pt x="119000" y="16886"/>
                    <a:pt x="109797" y="25499"/>
                  </a:cubicBezTo>
                  <a:cubicBezTo>
                    <a:pt x="88826" y="48919"/>
                    <a:pt x="78030" y="79712"/>
                    <a:pt x="79741" y="111125"/>
                  </a:cubicBezTo>
                  <a:cubicBezTo>
                    <a:pt x="79653" y="132067"/>
                    <a:pt x="83458" y="152832"/>
                    <a:pt x="90950" y="172388"/>
                  </a:cubicBezTo>
                  <a:cubicBezTo>
                    <a:pt x="97940" y="187431"/>
                    <a:pt x="107644" y="201028"/>
                    <a:pt x="119619" y="212502"/>
                  </a:cubicBezTo>
                  <a:lnTo>
                    <a:pt x="126934" y="220407"/>
                  </a:lnTo>
                  <a:cubicBezTo>
                    <a:pt x="127937" y="229197"/>
                    <a:pt x="127495" y="238105"/>
                    <a:pt x="125637" y="246776"/>
                  </a:cubicBezTo>
                  <a:cubicBezTo>
                    <a:pt x="119413" y="255183"/>
                    <a:pt x="97675" y="256097"/>
                    <a:pt x="90478" y="256805"/>
                  </a:cubicBezTo>
                  <a:lnTo>
                    <a:pt x="82750" y="256805"/>
                  </a:lnTo>
                  <a:cubicBezTo>
                    <a:pt x="63695" y="256805"/>
                    <a:pt x="31928" y="256805"/>
                    <a:pt x="10308" y="290283"/>
                  </a:cubicBezTo>
                  <a:cubicBezTo>
                    <a:pt x="-21046" y="338508"/>
                    <a:pt x="26944" y="518167"/>
                    <a:pt x="50393" y="560966"/>
                  </a:cubicBezTo>
                  <a:cubicBezTo>
                    <a:pt x="53608" y="566983"/>
                    <a:pt x="61218" y="581023"/>
                    <a:pt x="75140" y="581023"/>
                  </a:cubicBezTo>
                  <a:lnTo>
                    <a:pt x="252409" y="581023"/>
                  </a:lnTo>
                  <a:cubicBezTo>
                    <a:pt x="283881" y="581023"/>
                    <a:pt x="305620" y="581023"/>
                    <a:pt x="311843" y="580521"/>
                  </a:cubicBezTo>
                  <a:cubicBezTo>
                    <a:pt x="316091" y="580138"/>
                    <a:pt x="320161" y="578663"/>
                    <a:pt x="323671" y="576244"/>
                  </a:cubicBezTo>
                  <a:cubicBezTo>
                    <a:pt x="327181" y="573826"/>
                    <a:pt x="330013" y="570522"/>
                    <a:pt x="331871" y="566688"/>
                  </a:cubicBezTo>
                  <a:cubicBezTo>
                    <a:pt x="355232" y="527989"/>
                    <a:pt x="379772" y="328893"/>
                    <a:pt x="365231" y="297598"/>
                  </a:cubicBezTo>
                  <a:cubicBezTo>
                    <a:pt x="358860" y="284000"/>
                    <a:pt x="348595" y="272585"/>
                    <a:pt x="335765" y="264828"/>
                  </a:cubicBezTo>
                  <a:cubicBezTo>
                    <a:pt x="322934" y="257041"/>
                    <a:pt x="308068" y="253236"/>
                    <a:pt x="293084" y="253885"/>
                  </a:cubicBezTo>
                  <a:close/>
                  <a:moveTo>
                    <a:pt x="304499" y="548046"/>
                  </a:moveTo>
                  <a:cubicBezTo>
                    <a:pt x="279841" y="548548"/>
                    <a:pt x="193565" y="548046"/>
                    <a:pt x="134751" y="548046"/>
                  </a:cubicBezTo>
                  <a:lnTo>
                    <a:pt x="81127" y="548046"/>
                  </a:lnTo>
                  <a:cubicBezTo>
                    <a:pt x="59979" y="516781"/>
                    <a:pt x="18301" y="339128"/>
                    <a:pt x="38447" y="308128"/>
                  </a:cubicBezTo>
                  <a:cubicBezTo>
                    <a:pt x="50363" y="289781"/>
                    <a:pt x="65613" y="289781"/>
                    <a:pt x="83251" y="289693"/>
                  </a:cubicBezTo>
                  <a:lnTo>
                    <a:pt x="92159" y="289693"/>
                  </a:lnTo>
                  <a:cubicBezTo>
                    <a:pt x="105992" y="289103"/>
                    <a:pt x="138467" y="287776"/>
                    <a:pt x="153776" y="265123"/>
                  </a:cubicBezTo>
                  <a:cubicBezTo>
                    <a:pt x="162683" y="251879"/>
                    <a:pt x="163804" y="211676"/>
                    <a:pt x="155073" y="201854"/>
                  </a:cubicBezTo>
                  <a:cubicBezTo>
                    <a:pt x="151563" y="197754"/>
                    <a:pt x="147847" y="193743"/>
                    <a:pt x="144248" y="189938"/>
                  </a:cubicBezTo>
                  <a:cubicBezTo>
                    <a:pt x="135134" y="181325"/>
                    <a:pt x="127642" y="171120"/>
                    <a:pt x="122097" y="159852"/>
                  </a:cubicBezTo>
                  <a:cubicBezTo>
                    <a:pt x="116168" y="144072"/>
                    <a:pt x="113160" y="127318"/>
                    <a:pt x="113278" y="110417"/>
                  </a:cubicBezTo>
                  <a:cubicBezTo>
                    <a:pt x="111626" y="88001"/>
                    <a:pt x="118823" y="65820"/>
                    <a:pt x="133306" y="48653"/>
                  </a:cubicBezTo>
                  <a:cubicBezTo>
                    <a:pt x="138821" y="43403"/>
                    <a:pt x="145340" y="39303"/>
                    <a:pt x="152448" y="36648"/>
                  </a:cubicBezTo>
                  <a:cubicBezTo>
                    <a:pt x="159586" y="33994"/>
                    <a:pt x="167167" y="32814"/>
                    <a:pt x="174777" y="33197"/>
                  </a:cubicBezTo>
                  <a:cubicBezTo>
                    <a:pt x="183301" y="32961"/>
                    <a:pt x="191766" y="34613"/>
                    <a:pt x="199553" y="38094"/>
                  </a:cubicBezTo>
                  <a:cubicBezTo>
                    <a:pt x="207340" y="41574"/>
                    <a:pt x="214242" y="46736"/>
                    <a:pt x="219758" y="53255"/>
                  </a:cubicBezTo>
                  <a:cubicBezTo>
                    <a:pt x="226542" y="61484"/>
                    <a:pt x="231615" y="71040"/>
                    <a:pt x="234594" y="81276"/>
                  </a:cubicBezTo>
                  <a:cubicBezTo>
                    <a:pt x="237603" y="91540"/>
                    <a:pt x="238458" y="102277"/>
                    <a:pt x="237190" y="112895"/>
                  </a:cubicBezTo>
                  <a:cubicBezTo>
                    <a:pt x="235213" y="129944"/>
                    <a:pt x="231438" y="146756"/>
                    <a:pt x="225981" y="163038"/>
                  </a:cubicBezTo>
                  <a:cubicBezTo>
                    <a:pt x="223297" y="168819"/>
                    <a:pt x="219699" y="174128"/>
                    <a:pt x="215363" y="178789"/>
                  </a:cubicBezTo>
                  <a:cubicBezTo>
                    <a:pt x="208402" y="186428"/>
                    <a:pt x="202886" y="195247"/>
                    <a:pt x="199022" y="204863"/>
                  </a:cubicBezTo>
                  <a:cubicBezTo>
                    <a:pt x="195689" y="214361"/>
                    <a:pt x="194627" y="224537"/>
                    <a:pt x="195925" y="234506"/>
                  </a:cubicBezTo>
                  <a:cubicBezTo>
                    <a:pt x="197223" y="244505"/>
                    <a:pt x="200821" y="254062"/>
                    <a:pt x="206455" y="262409"/>
                  </a:cubicBezTo>
                  <a:cubicBezTo>
                    <a:pt x="223799" y="288189"/>
                    <a:pt x="260757" y="287687"/>
                    <a:pt x="285209" y="287481"/>
                  </a:cubicBezTo>
                  <a:lnTo>
                    <a:pt x="292435" y="287481"/>
                  </a:lnTo>
                  <a:cubicBezTo>
                    <a:pt x="301137" y="286714"/>
                    <a:pt x="309867" y="288601"/>
                    <a:pt x="317477" y="292878"/>
                  </a:cubicBezTo>
                  <a:cubicBezTo>
                    <a:pt x="325087" y="297155"/>
                    <a:pt x="331252" y="303615"/>
                    <a:pt x="335116" y="311431"/>
                  </a:cubicBezTo>
                  <a:cubicBezTo>
                    <a:pt x="345144" y="337299"/>
                    <a:pt x="320987" y="516751"/>
                    <a:pt x="304440" y="5480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194;p2"/>
            <p:cNvSpPr/>
            <p:nvPr/>
          </p:nvSpPr>
          <p:spPr>
            <a:xfrm>
              <a:off x="10491629" y="2418533"/>
              <a:ext cx="389206" cy="1132074"/>
            </a:xfrm>
            <a:custGeom>
              <a:avLst/>
              <a:gdLst/>
              <a:ahLst/>
              <a:cxnLst/>
              <a:rect l="l" t="t" r="r" b="b"/>
              <a:pathLst>
                <a:path w="389206" h="1132074" extrusionOk="0">
                  <a:moveTo>
                    <a:pt x="389148" y="396833"/>
                  </a:moveTo>
                  <a:cubicBezTo>
                    <a:pt x="389236" y="394385"/>
                    <a:pt x="388794" y="391966"/>
                    <a:pt x="387850" y="389695"/>
                  </a:cubicBezTo>
                  <a:cubicBezTo>
                    <a:pt x="386906" y="387453"/>
                    <a:pt x="385461" y="385418"/>
                    <a:pt x="383662" y="383796"/>
                  </a:cubicBezTo>
                  <a:cubicBezTo>
                    <a:pt x="381833" y="382144"/>
                    <a:pt x="379680" y="380935"/>
                    <a:pt x="377350" y="380227"/>
                  </a:cubicBezTo>
                  <a:cubicBezTo>
                    <a:pt x="375019" y="379519"/>
                    <a:pt x="372542" y="379342"/>
                    <a:pt x="370123" y="379696"/>
                  </a:cubicBezTo>
                  <a:cubicBezTo>
                    <a:pt x="355700" y="381230"/>
                    <a:pt x="341158" y="378309"/>
                    <a:pt x="328446" y="371378"/>
                  </a:cubicBezTo>
                  <a:cubicBezTo>
                    <a:pt x="302991" y="359845"/>
                    <a:pt x="297268" y="350436"/>
                    <a:pt x="290956" y="323742"/>
                  </a:cubicBezTo>
                  <a:cubicBezTo>
                    <a:pt x="289777" y="315867"/>
                    <a:pt x="289511" y="307903"/>
                    <a:pt x="290160" y="299969"/>
                  </a:cubicBezTo>
                  <a:cubicBezTo>
                    <a:pt x="290661" y="285132"/>
                    <a:pt x="291163" y="271092"/>
                    <a:pt x="283730" y="260769"/>
                  </a:cubicBezTo>
                  <a:cubicBezTo>
                    <a:pt x="280928" y="257642"/>
                    <a:pt x="277388" y="255253"/>
                    <a:pt x="273436" y="253867"/>
                  </a:cubicBezTo>
                  <a:cubicBezTo>
                    <a:pt x="269483" y="252480"/>
                    <a:pt x="265236" y="252126"/>
                    <a:pt x="261077" y="252834"/>
                  </a:cubicBezTo>
                  <a:cubicBezTo>
                    <a:pt x="242642" y="252834"/>
                    <a:pt x="238926" y="250534"/>
                    <a:pt x="238041" y="246021"/>
                  </a:cubicBezTo>
                  <a:cubicBezTo>
                    <a:pt x="236979" y="240623"/>
                    <a:pt x="236389" y="235166"/>
                    <a:pt x="236242" y="229680"/>
                  </a:cubicBezTo>
                  <a:cubicBezTo>
                    <a:pt x="276327" y="198297"/>
                    <a:pt x="290750" y="141960"/>
                    <a:pt x="287446" y="98748"/>
                  </a:cubicBezTo>
                  <a:cubicBezTo>
                    <a:pt x="285765" y="82644"/>
                    <a:pt x="280839" y="67070"/>
                    <a:pt x="272993" y="52941"/>
                  </a:cubicBezTo>
                  <a:cubicBezTo>
                    <a:pt x="265148" y="38783"/>
                    <a:pt x="254529" y="26395"/>
                    <a:pt x="241757" y="16455"/>
                  </a:cubicBezTo>
                  <a:cubicBezTo>
                    <a:pt x="205891" y="-11507"/>
                    <a:pt x="147754" y="4126"/>
                    <a:pt x="141560" y="6426"/>
                  </a:cubicBezTo>
                  <a:cubicBezTo>
                    <a:pt x="137431" y="7636"/>
                    <a:pt x="133891" y="10379"/>
                    <a:pt x="131738" y="14125"/>
                  </a:cubicBezTo>
                  <a:cubicBezTo>
                    <a:pt x="129585" y="17871"/>
                    <a:pt x="128966" y="22295"/>
                    <a:pt x="130027" y="26484"/>
                  </a:cubicBezTo>
                  <a:cubicBezTo>
                    <a:pt x="135248" y="47426"/>
                    <a:pt x="138935" y="87953"/>
                    <a:pt x="131945" y="106683"/>
                  </a:cubicBezTo>
                  <a:cubicBezTo>
                    <a:pt x="124630" y="126356"/>
                    <a:pt x="113215" y="144260"/>
                    <a:pt x="98467" y="159215"/>
                  </a:cubicBezTo>
                  <a:cubicBezTo>
                    <a:pt x="96314" y="161427"/>
                    <a:pt x="94780" y="164170"/>
                    <a:pt x="94101" y="167179"/>
                  </a:cubicBezTo>
                  <a:cubicBezTo>
                    <a:pt x="93423" y="170187"/>
                    <a:pt x="93571" y="173343"/>
                    <a:pt x="94573" y="176263"/>
                  </a:cubicBezTo>
                  <a:cubicBezTo>
                    <a:pt x="101063" y="197146"/>
                    <a:pt x="113067" y="215876"/>
                    <a:pt x="129349" y="230506"/>
                  </a:cubicBezTo>
                  <a:cubicBezTo>
                    <a:pt x="129555" y="235314"/>
                    <a:pt x="129113" y="240151"/>
                    <a:pt x="128051" y="244841"/>
                  </a:cubicBezTo>
                  <a:cubicBezTo>
                    <a:pt x="121326" y="255459"/>
                    <a:pt x="106106" y="257878"/>
                    <a:pt x="82156" y="260267"/>
                  </a:cubicBezTo>
                  <a:cubicBezTo>
                    <a:pt x="55905" y="262981"/>
                    <a:pt x="23223" y="266373"/>
                    <a:pt x="6706" y="295574"/>
                  </a:cubicBezTo>
                  <a:cubicBezTo>
                    <a:pt x="-609" y="308493"/>
                    <a:pt x="-226" y="327341"/>
                    <a:pt x="187" y="342590"/>
                  </a:cubicBezTo>
                  <a:lnTo>
                    <a:pt x="187" y="354034"/>
                  </a:lnTo>
                  <a:lnTo>
                    <a:pt x="2488" y="395624"/>
                  </a:lnTo>
                  <a:cubicBezTo>
                    <a:pt x="2694" y="399369"/>
                    <a:pt x="4169" y="402938"/>
                    <a:pt x="6676" y="405741"/>
                  </a:cubicBezTo>
                  <a:cubicBezTo>
                    <a:pt x="9183" y="408543"/>
                    <a:pt x="12546" y="410430"/>
                    <a:pt x="16233" y="411079"/>
                  </a:cubicBezTo>
                  <a:cubicBezTo>
                    <a:pt x="29299" y="412967"/>
                    <a:pt x="42513" y="413970"/>
                    <a:pt x="55728" y="414088"/>
                  </a:cubicBezTo>
                  <a:cubicBezTo>
                    <a:pt x="89146" y="412908"/>
                    <a:pt x="122417" y="419191"/>
                    <a:pt x="153123" y="432434"/>
                  </a:cubicBezTo>
                  <a:cubicBezTo>
                    <a:pt x="240312" y="474436"/>
                    <a:pt x="245415" y="618199"/>
                    <a:pt x="234383" y="731286"/>
                  </a:cubicBezTo>
                  <a:cubicBezTo>
                    <a:pt x="234148" y="733586"/>
                    <a:pt x="234413" y="735917"/>
                    <a:pt x="235150" y="738129"/>
                  </a:cubicBezTo>
                  <a:cubicBezTo>
                    <a:pt x="235888" y="740341"/>
                    <a:pt x="237068" y="742347"/>
                    <a:pt x="238631" y="744057"/>
                  </a:cubicBezTo>
                  <a:cubicBezTo>
                    <a:pt x="240194" y="745768"/>
                    <a:pt x="242082" y="747154"/>
                    <a:pt x="244206" y="748098"/>
                  </a:cubicBezTo>
                  <a:cubicBezTo>
                    <a:pt x="246329" y="749042"/>
                    <a:pt x="248600" y="749514"/>
                    <a:pt x="250931" y="749514"/>
                  </a:cubicBezTo>
                  <a:lnTo>
                    <a:pt x="251727" y="749514"/>
                  </a:lnTo>
                  <a:cubicBezTo>
                    <a:pt x="287712" y="747803"/>
                    <a:pt x="311839" y="744205"/>
                    <a:pt x="328386" y="734766"/>
                  </a:cubicBezTo>
                  <a:cubicBezTo>
                    <a:pt x="322310" y="797091"/>
                    <a:pt x="302843" y="857380"/>
                    <a:pt x="271342" y="911475"/>
                  </a:cubicBezTo>
                  <a:cubicBezTo>
                    <a:pt x="239840" y="965571"/>
                    <a:pt x="197012" y="1012233"/>
                    <a:pt x="145808" y="1048277"/>
                  </a:cubicBezTo>
                  <a:lnTo>
                    <a:pt x="112330" y="990819"/>
                  </a:lnTo>
                  <a:lnTo>
                    <a:pt x="82982" y="1101989"/>
                  </a:lnTo>
                  <a:lnTo>
                    <a:pt x="193915" y="1132075"/>
                  </a:lnTo>
                  <a:lnTo>
                    <a:pt x="162060" y="1077242"/>
                  </a:lnTo>
                  <a:cubicBezTo>
                    <a:pt x="291723" y="987811"/>
                    <a:pt x="370801" y="831099"/>
                    <a:pt x="361658" y="678518"/>
                  </a:cubicBezTo>
                  <a:cubicBezTo>
                    <a:pt x="363663" y="669492"/>
                    <a:pt x="365374" y="659257"/>
                    <a:pt x="366967" y="647754"/>
                  </a:cubicBezTo>
                  <a:cubicBezTo>
                    <a:pt x="378205" y="568941"/>
                    <a:pt x="385520" y="484347"/>
                    <a:pt x="389207" y="396803"/>
                  </a:cubicBezTo>
                  <a:close/>
                  <a:moveTo>
                    <a:pt x="334433" y="642975"/>
                  </a:moveTo>
                  <a:cubicBezTo>
                    <a:pt x="333135" y="652502"/>
                    <a:pt x="331926" y="660525"/>
                    <a:pt x="330628" y="667634"/>
                  </a:cubicBezTo>
                  <a:cubicBezTo>
                    <a:pt x="329153" y="670377"/>
                    <a:pt x="328505" y="673474"/>
                    <a:pt x="328711" y="676541"/>
                  </a:cubicBezTo>
                  <a:lnTo>
                    <a:pt x="328711" y="677043"/>
                  </a:lnTo>
                  <a:cubicBezTo>
                    <a:pt x="321809" y="707129"/>
                    <a:pt x="310276" y="712644"/>
                    <a:pt x="268599" y="715240"/>
                  </a:cubicBezTo>
                  <a:cubicBezTo>
                    <a:pt x="281931" y="546613"/>
                    <a:pt x="247863" y="441430"/>
                    <a:pt x="167104" y="402437"/>
                  </a:cubicBezTo>
                  <a:cubicBezTo>
                    <a:pt x="132269" y="386804"/>
                    <a:pt x="94426" y="379135"/>
                    <a:pt x="56258" y="379991"/>
                  </a:cubicBezTo>
                  <a:cubicBezTo>
                    <a:pt x="48649" y="379991"/>
                    <a:pt x="41216" y="379991"/>
                    <a:pt x="34314" y="378988"/>
                  </a:cubicBezTo>
                  <a:lnTo>
                    <a:pt x="32809" y="352029"/>
                  </a:lnTo>
                  <a:lnTo>
                    <a:pt x="32809" y="340997"/>
                  </a:lnTo>
                  <a:cubicBezTo>
                    <a:pt x="31865" y="330910"/>
                    <a:pt x="32603" y="320763"/>
                    <a:pt x="35021" y="310912"/>
                  </a:cubicBezTo>
                  <a:cubicBezTo>
                    <a:pt x="42543" y="297579"/>
                    <a:pt x="58972" y="294984"/>
                    <a:pt x="85135" y="292270"/>
                  </a:cubicBezTo>
                  <a:cubicBezTo>
                    <a:pt x="111298" y="289557"/>
                    <a:pt x="141354" y="286460"/>
                    <a:pt x="156780" y="259589"/>
                  </a:cubicBezTo>
                  <a:cubicBezTo>
                    <a:pt x="160673" y="252864"/>
                    <a:pt x="168814" y="218177"/>
                    <a:pt x="152179" y="205553"/>
                  </a:cubicBezTo>
                  <a:cubicBezTo>
                    <a:pt x="141855" y="196969"/>
                    <a:pt x="133862" y="185938"/>
                    <a:pt x="128936" y="173461"/>
                  </a:cubicBezTo>
                  <a:cubicBezTo>
                    <a:pt x="143389" y="156914"/>
                    <a:pt x="154715" y="137889"/>
                    <a:pt x="162414" y="117331"/>
                  </a:cubicBezTo>
                  <a:cubicBezTo>
                    <a:pt x="171440" y="93469"/>
                    <a:pt x="168519" y="57189"/>
                    <a:pt x="164921" y="34418"/>
                  </a:cubicBezTo>
                  <a:cubicBezTo>
                    <a:pt x="182147" y="31822"/>
                    <a:pt x="206923" y="31203"/>
                    <a:pt x="221051" y="42234"/>
                  </a:cubicBezTo>
                  <a:cubicBezTo>
                    <a:pt x="230166" y="49343"/>
                    <a:pt x="237805" y="58192"/>
                    <a:pt x="243468" y="68279"/>
                  </a:cubicBezTo>
                  <a:cubicBezTo>
                    <a:pt x="249131" y="78367"/>
                    <a:pt x="252759" y="89487"/>
                    <a:pt x="254116" y="100961"/>
                  </a:cubicBezTo>
                  <a:cubicBezTo>
                    <a:pt x="256712" y="135235"/>
                    <a:pt x="244796" y="182664"/>
                    <a:pt x="212439" y="205641"/>
                  </a:cubicBezTo>
                  <a:cubicBezTo>
                    <a:pt x="208221" y="208650"/>
                    <a:pt x="198222" y="215670"/>
                    <a:pt x="205330" y="252067"/>
                  </a:cubicBezTo>
                  <a:cubicBezTo>
                    <a:pt x="211347" y="282832"/>
                    <a:pt x="241403" y="285545"/>
                    <a:pt x="256948" y="285663"/>
                  </a:cubicBezTo>
                  <a:lnTo>
                    <a:pt x="256948" y="298494"/>
                  </a:lnTo>
                  <a:cubicBezTo>
                    <a:pt x="256122" y="309348"/>
                    <a:pt x="256682" y="320262"/>
                    <a:pt x="258659" y="330969"/>
                  </a:cubicBezTo>
                  <a:cubicBezTo>
                    <a:pt x="266563" y="364358"/>
                    <a:pt x="277388" y="384297"/>
                    <a:pt x="314789" y="401139"/>
                  </a:cubicBezTo>
                  <a:cubicBezTo>
                    <a:pt x="327384" y="407304"/>
                    <a:pt x="340952" y="411227"/>
                    <a:pt x="354874" y="412761"/>
                  </a:cubicBezTo>
                  <a:cubicBezTo>
                    <a:pt x="351452" y="493668"/>
                    <a:pt x="344462" y="570858"/>
                    <a:pt x="334522" y="6429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" name="Google Shape;195;p2"/>
            <p:cNvSpPr/>
            <p:nvPr/>
          </p:nvSpPr>
          <p:spPr>
            <a:xfrm>
              <a:off x="9410517" y="2575586"/>
              <a:ext cx="369442" cy="1013749"/>
            </a:xfrm>
            <a:custGeom>
              <a:avLst/>
              <a:gdLst/>
              <a:ahLst/>
              <a:cxnLst/>
              <a:rect l="l" t="t" r="r" b="b"/>
              <a:pathLst>
                <a:path w="369442" h="1013749" extrusionOk="0">
                  <a:moveTo>
                    <a:pt x="292935" y="253525"/>
                  </a:moveTo>
                  <a:lnTo>
                    <a:pt x="285207" y="253525"/>
                  </a:lnTo>
                  <a:cubicBezTo>
                    <a:pt x="268867" y="253525"/>
                    <a:pt x="241613" y="253525"/>
                    <a:pt x="234298" y="243497"/>
                  </a:cubicBezTo>
                  <a:cubicBezTo>
                    <a:pt x="231555" y="239456"/>
                    <a:pt x="229785" y="234825"/>
                    <a:pt x="229136" y="229988"/>
                  </a:cubicBezTo>
                  <a:cubicBezTo>
                    <a:pt x="228487" y="225150"/>
                    <a:pt x="228988" y="220225"/>
                    <a:pt x="230581" y="215623"/>
                  </a:cubicBezTo>
                  <a:cubicBezTo>
                    <a:pt x="233236" y="209695"/>
                    <a:pt x="236864" y="204238"/>
                    <a:pt x="241288" y="199489"/>
                  </a:cubicBezTo>
                  <a:cubicBezTo>
                    <a:pt x="248013" y="192086"/>
                    <a:pt x="253440" y="183561"/>
                    <a:pt x="257334" y="174329"/>
                  </a:cubicBezTo>
                  <a:cubicBezTo>
                    <a:pt x="263617" y="156012"/>
                    <a:pt x="267952" y="137105"/>
                    <a:pt x="270253" y="117874"/>
                  </a:cubicBezTo>
                  <a:cubicBezTo>
                    <a:pt x="272200" y="102566"/>
                    <a:pt x="270990" y="86992"/>
                    <a:pt x="266655" y="72185"/>
                  </a:cubicBezTo>
                  <a:cubicBezTo>
                    <a:pt x="262319" y="57378"/>
                    <a:pt x="254974" y="43604"/>
                    <a:pt x="245093" y="31746"/>
                  </a:cubicBezTo>
                  <a:cubicBezTo>
                    <a:pt x="236451" y="21629"/>
                    <a:pt x="225685" y="13518"/>
                    <a:pt x="213562" y="8032"/>
                  </a:cubicBezTo>
                  <a:cubicBezTo>
                    <a:pt x="201439" y="2546"/>
                    <a:pt x="188255" y="-168"/>
                    <a:pt x="174952" y="38"/>
                  </a:cubicBezTo>
                  <a:cubicBezTo>
                    <a:pt x="162888" y="-316"/>
                    <a:pt x="150884" y="1779"/>
                    <a:pt x="139646" y="6203"/>
                  </a:cubicBezTo>
                  <a:cubicBezTo>
                    <a:pt x="128408" y="10627"/>
                    <a:pt x="118202" y="17293"/>
                    <a:pt x="109619" y="25788"/>
                  </a:cubicBezTo>
                  <a:cubicBezTo>
                    <a:pt x="88648" y="49208"/>
                    <a:pt x="77852" y="80002"/>
                    <a:pt x="79563" y="111415"/>
                  </a:cubicBezTo>
                  <a:cubicBezTo>
                    <a:pt x="79504" y="132357"/>
                    <a:pt x="83309" y="153122"/>
                    <a:pt x="90801" y="172677"/>
                  </a:cubicBezTo>
                  <a:cubicBezTo>
                    <a:pt x="97791" y="187720"/>
                    <a:pt x="107495" y="201318"/>
                    <a:pt x="119471" y="212792"/>
                  </a:cubicBezTo>
                  <a:lnTo>
                    <a:pt x="126786" y="220726"/>
                  </a:lnTo>
                  <a:cubicBezTo>
                    <a:pt x="127788" y="229516"/>
                    <a:pt x="127346" y="238423"/>
                    <a:pt x="125488" y="247095"/>
                  </a:cubicBezTo>
                  <a:cubicBezTo>
                    <a:pt x="119382" y="255531"/>
                    <a:pt x="97526" y="256416"/>
                    <a:pt x="90329" y="257124"/>
                  </a:cubicBezTo>
                  <a:lnTo>
                    <a:pt x="82601" y="257124"/>
                  </a:lnTo>
                  <a:cubicBezTo>
                    <a:pt x="63547" y="257124"/>
                    <a:pt x="31809" y="257124"/>
                    <a:pt x="10159" y="290601"/>
                  </a:cubicBezTo>
                  <a:cubicBezTo>
                    <a:pt x="-19897" y="337323"/>
                    <a:pt x="23993" y="507750"/>
                    <a:pt x="48032" y="557391"/>
                  </a:cubicBezTo>
                  <a:cubicBezTo>
                    <a:pt x="37797" y="710091"/>
                    <a:pt x="117288" y="868690"/>
                    <a:pt x="247836" y="958917"/>
                  </a:cubicBezTo>
                  <a:lnTo>
                    <a:pt x="215981" y="1013750"/>
                  </a:lnTo>
                  <a:lnTo>
                    <a:pt x="326914" y="983664"/>
                  </a:lnTo>
                  <a:lnTo>
                    <a:pt x="298068" y="872495"/>
                  </a:lnTo>
                  <a:lnTo>
                    <a:pt x="264590" y="929952"/>
                  </a:lnTo>
                  <a:cubicBezTo>
                    <a:pt x="150766" y="850461"/>
                    <a:pt x="79504" y="715105"/>
                    <a:pt x="80713" y="580752"/>
                  </a:cubicBezTo>
                  <a:lnTo>
                    <a:pt x="252674" y="580752"/>
                  </a:lnTo>
                  <a:cubicBezTo>
                    <a:pt x="284146" y="580752"/>
                    <a:pt x="305884" y="580752"/>
                    <a:pt x="312108" y="580250"/>
                  </a:cubicBezTo>
                  <a:cubicBezTo>
                    <a:pt x="316355" y="579867"/>
                    <a:pt x="320425" y="578392"/>
                    <a:pt x="323935" y="575973"/>
                  </a:cubicBezTo>
                  <a:cubicBezTo>
                    <a:pt x="327445" y="573555"/>
                    <a:pt x="330277" y="570251"/>
                    <a:pt x="332135" y="566417"/>
                  </a:cubicBezTo>
                  <a:cubicBezTo>
                    <a:pt x="354876" y="527807"/>
                    <a:pt x="379623" y="328622"/>
                    <a:pt x="365112" y="297238"/>
                  </a:cubicBezTo>
                  <a:cubicBezTo>
                    <a:pt x="358740" y="283641"/>
                    <a:pt x="348476" y="272226"/>
                    <a:pt x="335645" y="264468"/>
                  </a:cubicBezTo>
                  <a:cubicBezTo>
                    <a:pt x="322815" y="256681"/>
                    <a:pt x="307949" y="252876"/>
                    <a:pt x="292965" y="253525"/>
                  </a:cubicBezTo>
                  <a:close/>
                  <a:moveTo>
                    <a:pt x="304350" y="547864"/>
                  </a:moveTo>
                  <a:cubicBezTo>
                    <a:pt x="279692" y="548365"/>
                    <a:pt x="193417" y="547864"/>
                    <a:pt x="134602" y="547864"/>
                  </a:cubicBezTo>
                  <a:lnTo>
                    <a:pt x="80979" y="547864"/>
                  </a:lnTo>
                  <a:cubicBezTo>
                    <a:pt x="59830" y="516893"/>
                    <a:pt x="18153" y="339122"/>
                    <a:pt x="38298" y="308152"/>
                  </a:cubicBezTo>
                  <a:cubicBezTo>
                    <a:pt x="50215" y="289894"/>
                    <a:pt x="65464" y="289805"/>
                    <a:pt x="83102" y="289717"/>
                  </a:cubicBezTo>
                  <a:lnTo>
                    <a:pt x="91833" y="289717"/>
                  </a:lnTo>
                  <a:cubicBezTo>
                    <a:pt x="105667" y="289127"/>
                    <a:pt x="138141" y="287799"/>
                    <a:pt x="153450" y="265147"/>
                  </a:cubicBezTo>
                  <a:cubicBezTo>
                    <a:pt x="162358" y="251903"/>
                    <a:pt x="163478" y="211700"/>
                    <a:pt x="154748" y="201878"/>
                  </a:cubicBezTo>
                  <a:cubicBezTo>
                    <a:pt x="151238" y="197778"/>
                    <a:pt x="147521" y="193767"/>
                    <a:pt x="143923" y="189932"/>
                  </a:cubicBezTo>
                  <a:cubicBezTo>
                    <a:pt x="134808" y="181320"/>
                    <a:pt x="127317" y="171114"/>
                    <a:pt x="121771" y="159847"/>
                  </a:cubicBezTo>
                  <a:cubicBezTo>
                    <a:pt x="115843" y="144066"/>
                    <a:pt x="112834" y="127283"/>
                    <a:pt x="112952" y="110412"/>
                  </a:cubicBezTo>
                  <a:cubicBezTo>
                    <a:pt x="111300" y="87995"/>
                    <a:pt x="118497" y="65814"/>
                    <a:pt x="132980" y="48648"/>
                  </a:cubicBezTo>
                  <a:cubicBezTo>
                    <a:pt x="138466" y="43279"/>
                    <a:pt x="145014" y="39120"/>
                    <a:pt x="152181" y="36377"/>
                  </a:cubicBezTo>
                  <a:cubicBezTo>
                    <a:pt x="159349" y="33664"/>
                    <a:pt x="167018" y="32425"/>
                    <a:pt x="174657" y="32808"/>
                  </a:cubicBezTo>
                  <a:cubicBezTo>
                    <a:pt x="183182" y="32572"/>
                    <a:pt x="191647" y="34224"/>
                    <a:pt x="199434" y="37705"/>
                  </a:cubicBezTo>
                  <a:cubicBezTo>
                    <a:pt x="207221" y="41185"/>
                    <a:pt x="214123" y="46347"/>
                    <a:pt x="219638" y="52865"/>
                  </a:cubicBezTo>
                  <a:cubicBezTo>
                    <a:pt x="226422" y="61095"/>
                    <a:pt x="231466" y="70622"/>
                    <a:pt x="234475" y="80857"/>
                  </a:cubicBezTo>
                  <a:cubicBezTo>
                    <a:pt x="237483" y="91092"/>
                    <a:pt x="238368" y="101828"/>
                    <a:pt x="237070" y="112417"/>
                  </a:cubicBezTo>
                  <a:cubicBezTo>
                    <a:pt x="235094" y="129466"/>
                    <a:pt x="231348" y="146279"/>
                    <a:pt x="225862" y="162531"/>
                  </a:cubicBezTo>
                  <a:cubicBezTo>
                    <a:pt x="223178" y="168312"/>
                    <a:pt x="219579" y="173621"/>
                    <a:pt x="215243" y="178282"/>
                  </a:cubicBezTo>
                  <a:cubicBezTo>
                    <a:pt x="208282" y="185921"/>
                    <a:pt x="202767" y="194740"/>
                    <a:pt x="198903" y="204356"/>
                  </a:cubicBezTo>
                  <a:cubicBezTo>
                    <a:pt x="195570" y="213853"/>
                    <a:pt x="194508" y="224029"/>
                    <a:pt x="195806" y="233999"/>
                  </a:cubicBezTo>
                  <a:cubicBezTo>
                    <a:pt x="197104" y="243998"/>
                    <a:pt x="200702" y="253555"/>
                    <a:pt x="206336" y="261902"/>
                  </a:cubicBezTo>
                  <a:cubicBezTo>
                    <a:pt x="224181" y="287180"/>
                    <a:pt x="261139" y="287180"/>
                    <a:pt x="285591" y="287180"/>
                  </a:cubicBezTo>
                  <a:lnTo>
                    <a:pt x="292817" y="287180"/>
                  </a:lnTo>
                  <a:cubicBezTo>
                    <a:pt x="301460" y="286590"/>
                    <a:pt x="310072" y="288596"/>
                    <a:pt x="317594" y="292932"/>
                  </a:cubicBezTo>
                  <a:cubicBezTo>
                    <a:pt x="325086" y="297268"/>
                    <a:pt x="331132" y="303757"/>
                    <a:pt x="334908" y="311544"/>
                  </a:cubicBezTo>
                  <a:cubicBezTo>
                    <a:pt x="344730" y="337293"/>
                    <a:pt x="320868" y="516274"/>
                    <a:pt x="304350" y="54783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2"/>
            <p:cNvSpPr/>
            <p:nvPr/>
          </p:nvSpPr>
          <p:spPr>
            <a:xfrm>
              <a:off x="9141588" y="2080803"/>
              <a:ext cx="2020578" cy="2005124"/>
            </a:xfrm>
            <a:custGeom>
              <a:avLst/>
              <a:gdLst/>
              <a:ahLst/>
              <a:cxnLst/>
              <a:rect l="l" t="t" r="r" b="b"/>
              <a:pathLst>
                <a:path w="2020578" h="2005124" extrusionOk="0">
                  <a:moveTo>
                    <a:pt x="1010289" y="0"/>
                  </a:moveTo>
                  <a:cubicBezTo>
                    <a:pt x="453232" y="0"/>
                    <a:pt x="0" y="449840"/>
                    <a:pt x="0" y="1002562"/>
                  </a:cubicBezTo>
                  <a:cubicBezTo>
                    <a:pt x="0" y="1555284"/>
                    <a:pt x="453232" y="2005124"/>
                    <a:pt x="1010289" y="2005124"/>
                  </a:cubicBezTo>
                  <a:cubicBezTo>
                    <a:pt x="1567347" y="2005124"/>
                    <a:pt x="2020579" y="1555284"/>
                    <a:pt x="2020579" y="1002562"/>
                  </a:cubicBezTo>
                  <a:cubicBezTo>
                    <a:pt x="2020579" y="449840"/>
                    <a:pt x="1567317" y="0"/>
                    <a:pt x="1010289" y="0"/>
                  </a:cubicBezTo>
                  <a:close/>
                  <a:moveTo>
                    <a:pt x="1212513" y="1827854"/>
                  </a:moveTo>
                  <a:cubicBezTo>
                    <a:pt x="1209829" y="1873838"/>
                    <a:pt x="1207085" y="1915604"/>
                    <a:pt x="1204283" y="1953182"/>
                  </a:cubicBezTo>
                  <a:cubicBezTo>
                    <a:pt x="1085386" y="1977044"/>
                    <a:pt x="963096" y="1978814"/>
                    <a:pt x="843550" y="1958403"/>
                  </a:cubicBezTo>
                  <a:cubicBezTo>
                    <a:pt x="838831" y="1917699"/>
                    <a:pt x="834229" y="1873573"/>
                    <a:pt x="829923" y="1827382"/>
                  </a:cubicBezTo>
                  <a:cubicBezTo>
                    <a:pt x="807477" y="1586756"/>
                    <a:pt x="809069" y="1458538"/>
                    <a:pt x="819894" y="1441401"/>
                  </a:cubicBezTo>
                  <a:cubicBezTo>
                    <a:pt x="837238" y="1414825"/>
                    <a:pt x="859979" y="1414736"/>
                    <a:pt x="883428" y="1414736"/>
                  </a:cubicBezTo>
                  <a:lnTo>
                    <a:pt x="895050" y="1414736"/>
                  </a:lnTo>
                  <a:cubicBezTo>
                    <a:pt x="912599" y="1414028"/>
                    <a:pt x="953569" y="1412318"/>
                    <a:pt x="972210" y="1384651"/>
                  </a:cubicBezTo>
                  <a:cubicBezTo>
                    <a:pt x="983330" y="1368103"/>
                    <a:pt x="983242" y="1317990"/>
                    <a:pt x="974305" y="1307549"/>
                  </a:cubicBezTo>
                  <a:cubicBezTo>
                    <a:pt x="969703" y="1302239"/>
                    <a:pt x="964896" y="1297019"/>
                    <a:pt x="960176" y="1292004"/>
                  </a:cubicBezTo>
                  <a:cubicBezTo>
                    <a:pt x="947817" y="1280294"/>
                    <a:pt x="937612" y="1266490"/>
                    <a:pt x="930120" y="1251212"/>
                  </a:cubicBezTo>
                  <a:cubicBezTo>
                    <a:pt x="922038" y="1229768"/>
                    <a:pt x="917968" y="1207056"/>
                    <a:pt x="918086" y="1184138"/>
                  </a:cubicBezTo>
                  <a:cubicBezTo>
                    <a:pt x="917378" y="1148861"/>
                    <a:pt x="928114" y="1117773"/>
                    <a:pt x="946254" y="1098807"/>
                  </a:cubicBezTo>
                  <a:cubicBezTo>
                    <a:pt x="953982" y="1091197"/>
                    <a:pt x="963185" y="1085298"/>
                    <a:pt x="973331" y="1081404"/>
                  </a:cubicBezTo>
                  <a:cubicBezTo>
                    <a:pt x="983448" y="1077511"/>
                    <a:pt x="994273" y="1075771"/>
                    <a:pt x="1005098" y="1076243"/>
                  </a:cubicBezTo>
                  <a:cubicBezTo>
                    <a:pt x="1017103" y="1076007"/>
                    <a:pt x="1029019" y="1078425"/>
                    <a:pt x="1039962" y="1083351"/>
                  </a:cubicBezTo>
                  <a:cubicBezTo>
                    <a:pt x="1050905" y="1088277"/>
                    <a:pt x="1060639" y="1095562"/>
                    <a:pt x="1068426" y="1104706"/>
                  </a:cubicBezTo>
                  <a:cubicBezTo>
                    <a:pt x="1077953" y="1116091"/>
                    <a:pt x="1085061" y="1129365"/>
                    <a:pt x="1089250" y="1143611"/>
                  </a:cubicBezTo>
                  <a:cubicBezTo>
                    <a:pt x="1093438" y="1157887"/>
                    <a:pt x="1094647" y="1172871"/>
                    <a:pt x="1092789" y="1187619"/>
                  </a:cubicBezTo>
                  <a:cubicBezTo>
                    <a:pt x="1090076" y="1210301"/>
                    <a:pt x="1085002" y="1232659"/>
                    <a:pt x="1077658" y="1254279"/>
                  </a:cubicBezTo>
                  <a:cubicBezTo>
                    <a:pt x="1073912" y="1262450"/>
                    <a:pt x="1068927" y="1269941"/>
                    <a:pt x="1062822" y="1276549"/>
                  </a:cubicBezTo>
                  <a:cubicBezTo>
                    <a:pt x="1054061" y="1286164"/>
                    <a:pt x="1047071" y="1297284"/>
                    <a:pt x="1042174" y="1309348"/>
                  </a:cubicBezTo>
                  <a:cubicBezTo>
                    <a:pt x="1038075" y="1321117"/>
                    <a:pt x="1036747" y="1333711"/>
                    <a:pt x="1038370" y="1346070"/>
                  </a:cubicBezTo>
                  <a:cubicBezTo>
                    <a:pt x="1039962" y="1358458"/>
                    <a:pt x="1044446" y="1370286"/>
                    <a:pt x="1051407" y="1380610"/>
                  </a:cubicBezTo>
                  <a:cubicBezTo>
                    <a:pt x="1072762" y="1412200"/>
                    <a:pt x="1119837" y="1411698"/>
                    <a:pt x="1151014" y="1411285"/>
                  </a:cubicBezTo>
                  <a:lnTo>
                    <a:pt x="1161043" y="1411285"/>
                  </a:lnTo>
                  <a:cubicBezTo>
                    <a:pt x="1173401" y="1410518"/>
                    <a:pt x="1185701" y="1413409"/>
                    <a:pt x="1196408" y="1419633"/>
                  </a:cubicBezTo>
                  <a:cubicBezTo>
                    <a:pt x="1207115" y="1425856"/>
                    <a:pt x="1215728" y="1435118"/>
                    <a:pt x="1221155" y="1446267"/>
                  </a:cubicBezTo>
                  <a:cubicBezTo>
                    <a:pt x="1226877" y="1464614"/>
                    <a:pt x="1225166" y="1615308"/>
                    <a:pt x="1212542" y="1827854"/>
                  </a:cubicBezTo>
                  <a:close/>
                  <a:moveTo>
                    <a:pt x="1238174" y="1945749"/>
                  </a:moveTo>
                  <a:cubicBezTo>
                    <a:pt x="1241477" y="1899146"/>
                    <a:pt x="1244191" y="1855522"/>
                    <a:pt x="1245990" y="1824934"/>
                  </a:cubicBezTo>
                  <a:cubicBezTo>
                    <a:pt x="1248085" y="1788153"/>
                    <a:pt x="1266018" y="1464614"/>
                    <a:pt x="1251388" y="1432522"/>
                  </a:cubicBezTo>
                  <a:cubicBezTo>
                    <a:pt x="1235165" y="1397422"/>
                    <a:pt x="1202986" y="1378073"/>
                    <a:pt x="1161190" y="1377896"/>
                  </a:cubicBezTo>
                  <a:lnTo>
                    <a:pt x="1151161" y="1377896"/>
                  </a:lnTo>
                  <a:cubicBezTo>
                    <a:pt x="1127122" y="1377896"/>
                    <a:pt x="1091049" y="1378604"/>
                    <a:pt x="1079428" y="1361762"/>
                  </a:cubicBezTo>
                  <a:cubicBezTo>
                    <a:pt x="1075357" y="1355715"/>
                    <a:pt x="1072732" y="1348813"/>
                    <a:pt x="1071788" y="1341587"/>
                  </a:cubicBezTo>
                  <a:cubicBezTo>
                    <a:pt x="1070844" y="1334360"/>
                    <a:pt x="1071611" y="1327016"/>
                    <a:pt x="1074030" y="1320143"/>
                  </a:cubicBezTo>
                  <a:cubicBezTo>
                    <a:pt x="1077717" y="1311737"/>
                    <a:pt x="1082820" y="1304009"/>
                    <a:pt x="1089073" y="1297284"/>
                  </a:cubicBezTo>
                  <a:cubicBezTo>
                    <a:pt x="1097479" y="1287934"/>
                    <a:pt x="1104263" y="1277197"/>
                    <a:pt x="1109100" y="1265606"/>
                  </a:cubicBezTo>
                  <a:cubicBezTo>
                    <a:pt x="1117271" y="1241773"/>
                    <a:pt x="1122904" y="1217144"/>
                    <a:pt x="1125943" y="1192132"/>
                  </a:cubicBezTo>
                  <a:cubicBezTo>
                    <a:pt x="1128420" y="1172664"/>
                    <a:pt x="1126857" y="1152873"/>
                    <a:pt x="1121312" y="1134054"/>
                  </a:cubicBezTo>
                  <a:cubicBezTo>
                    <a:pt x="1115796" y="1115207"/>
                    <a:pt x="1106446" y="1097716"/>
                    <a:pt x="1093881" y="1082673"/>
                  </a:cubicBezTo>
                  <a:cubicBezTo>
                    <a:pt x="1083262" y="1070756"/>
                    <a:pt x="1070373" y="1061082"/>
                    <a:pt x="1055949" y="1054239"/>
                  </a:cubicBezTo>
                  <a:cubicBezTo>
                    <a:pt x="1041526" y="1047396"/>
                    <a:pt x="1025893" y="1043502"/>
                    <a:pt x="1009936" y="1042794"/>
                  </a:cubicBezTo>
                  <a:cubicBezTo>
                    <a:pt x="993978" y="1042086"/>
                    <a:pt x="978080" y="1044594"/>
                    <a:pt x="963096" y="1050168"/>
                  </a:cubicBezTo>
                  <a:cubicBezTo>
                    <a:pt x="948142" y="1055714"/>
                    <a:pt x="934426" y="1064238"/>
                    <a:pt x="922805" y="1075181"/>
                  </a:cubicBezTo>
                  <a:cubicBezTo>
                    <a:pt x="898058" y="1100459"/>
                    <a:pt x="884313" y="1140248"/>
                    <a:pt x="885227" y="1184463"/>
                  </a:cubicBezTo>
                  <a:cubicBezTo>
                    <a:pt x="885227" y="1211392"/>
                    <a:pt x="890183" y="1238116"/>
                    <a:pt x="899857" y="1263275"/>
                  </a:cubicBezTo>
                  <a:cubicBezTo>
                    <a:pt x="908824" y="1282389"/>
                    <a:pt x="921301" y="1299673"/>
                    <a:pt x="936639" y="1314215"/>
                  </a:cubicBezTo>
                  <a:cubicBezTo>
                    <a:pt x="940444" y="1318226"/>
                    <a:pt x="944042" y="1322149"/>
                    <a:pt x="947464" y="1325954"/>
                  </a:cubicBezTo>
                  <a:cubicBezTo>
                    <a:pt x="949322" y="1339345"/>
                    <a:pt x="948614" y="1352943"/>
                    <a:pt x="945369" y="1366068"/>
                  </a:cubicBezTo>
                  <a:cubicBezTo>
                    <a:pt x="936167" y="1379813"/>
                    <a:pt x="905786" y="1381023"/>
                    <a:pt x="894371" y="1381495"/>
                  </a:cubicBezTo>
                  <a:lnTo>
                    <a:pt x="884343" y="1381495"/>
                  </a:lnTo>
                  <a:cubicBezTo>
                    <a:pt x="858799" y="1381495"/>
                    <a:pt x="820219" y="1381495"/>
                    <a:pt x="793053" y="1423290"/>
                  </a:cubicBezTo>
                  <a:cubicBezTo>
                    <a:pt x="767805" y="1461989"/>
                    <a:pt x="784942" y="1693177"/>
                    <a:pt x="797359" y="1827530"/>
                  </a:cubicBezTo>
                  <a:cubicBezTo>
                    <a:pt x="800869" y="1864931"/>
                    <a:pt x="805264" y="1907729"/>
                    <a:pt x="810190" y="1952061"/>
                  </a:cubicBezTo>
                  <a:cubicBezTo>
                    <a:pt x="366957" y="1860034"/>
                    <a:pt x="33183" y="1469451"/>
                    <a:pt x="33183" y="1002562"/>
                  </a:cubicBezTo>
                  <a:cubicBezTo>
                    <a:pt x="33183" y="467892"/>
                    <a:pt x="471461" y="32888"/>
                    <a:pt x="1010172" y="32888"/>
                  </a:cubicBezTo>
                  <a:cubicBezTo>
                    <a:pt x="1548883" y="32888"/>
                    <a:pt x="1987190" y="467892"/>
                    <a:pt x="1987190" y="1002562"/>
                  </a:cubicBezTo>
                  <a:cubicBezTo>
                    <a:pt x="1987278" y="1459629"/>
                    <a:pt x="1667426" y="1843517"/>
                    <a:pt x="1238439" y="1945779"/>
                  </a:cubicBezTo>
                  <a:lnTo>
                    <a:pt x="1238144" y="19457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7" name="Google Shape;197;p2"/>
            <p:cNvSpPr/>
            <p:nvPr/>
          </p:nvSpPr>
          <p:spPr>
            <a:xfrm>
              <a:off x="9675491" y="2958774"/>
              <a:ext cx="165943" cy="166002"/>
            </a:xfrm>
            <a:custGeom>
              <a:avLst/>
              <a:gdLst/>
              <a:ahLst/>
              <a:cxnLst/>
              <a:rect l="l" t="t" r="r" b="b"/>
              <a:pathLst>
                <a:path w="165943" h="166002" extrusionOk="0">
                  <a:moveTo>
                    <a:pt x="82972" y="166002"/>
                  </a:moveTo>
                  <a:cubicBezTo>
                    <a:pt x="128808" y="166002"/>
                    <a:pt x="165943" y="128838"/>
                    <a:pt x="165943" y="83001"/>
                  </a:cubicBezTo>
                  <a:cubicBezTo>
                    <a:pt x="165943" y="37165"/>
                    <a:pt x="128808" y="0"/>
                    <a:pt x="82972" y="0"/>
                  </a:cubicBezTo>
                  <a:cubicBezTo>
                    <a:pt x="37135" y="0"/>
                    <a:pt x="0" y="37165"/>
                    <a:pt x="0" y="83001"/>
                  </a:cubicBezTo>
                  <a:cubicBezTo>
                    <a:pt x="0" y="128838"/>
                    <a:pt x="37135" y="166002"/>
                    <a:pt x="82972" y="16600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8" name="Google Shape;198;p2"/>
            <p:cNvSpPr/>
            <p:nvPr/>
          </p:nvSpPr>
          <p:spPr>
            <a:xfrm>
              <a:off x="10029322" y="2652667"/>
              <a:ext cx="165943" cy="166002"/>
            </a:xfrm>
            <a:custGeom>
              <a:avLst/>
              <a:gdLst/>
              <a:ahLst/>
              <a:cxnLst/>
              <a:rect l="l" t="t" r="r" b="b"/>
              <a:pathLst>
                <a:path w="165943" h="166002" extrusionOk="0">
                  <a:moveTo>
                    <a:pt x="82972" y="166002"/>
                  </a:moveTo>
                  <a:cubicBezTo>
                    <a:pt x="128808" y="166002"/>
                    <a:pt x="165943" y="128838"/>
                    <a:pt x="165943" y="83001"/>
                  </a:cubicBezTo>
                  <a:cubicBezTo>
                    <a:pt x="165943" y="37165"/>
                    <a:pt x="128808" y="0"/>
                    <a:pt x="82972" y="0"/>
                  </a:cubicBezTo>
                  <a:cubicBezTo>
                    <a:pt x="37135" y="0"/>
                    <a:pt x="0" y="37165"/>
                    <a:pt x="0" y="83001"/>
                  </a:cubicBezTo>
                  <a:cubicBezTo>
                    <a:pt x="0" y="128838"/>
                    <a:pt x="37135" y="166002"/>
                    <a:pt x="82972" y="16600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2"/>
            <p:cNvSpPr/>
            <p:nvPr/>
          </p:nvSpPr>
          <p:spPr>
            <a:xfrm>
              <a:off x="10364807" y="2361249"/>
              <a:ext cx="165943" cy="166002"/>
            </a:xfrm>
            <a:custGeom>
              <a:avLst/>
              <a:gdLst/>
              <a:ahLst/>
              <a:cxnLst/>
              <a:rect l="l" t="t" r="r" b="b"/>
              <a:pathLst>
                <a:path w="165943" h="166002" extrusionOk="0">
                  <a:moveTo>
                    <a:pt x="82972" y="166002"/>
                  </a:moveTo>
                  <a:cubicBezTo>
                    <a:pt x="128808" y="166002"/>
                    <a:pt x="165943" y="128838"/>
                    <a:pt x="165943" y="83001"/>
                  </a:cubicBezTo>
                  <a:cubicBezTo>
                    <a:pt x="165943" y="37165"/>
                    <a:pt x="128808" y="0"/>
                    <a:pt x="82972" y="0"/>
                  </a:cubicBezTo>
                  <a:cubicBezTo>
                    <a:pt x="37135" y="0"/>
                    <a:pt x="0" y="37165"/>
                    <a:pt x="0" y="83001"/>
                  </a:cubicBezTo>
                  <a:cubicBezTo>
                    <a:pt x="0" y="128838"/>
                    <a:pt x="37135" y="166002"/>
                    <a:pt x="82972" y="16600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00" name="Google Shape;200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5400000">
            <a:off x="6252092" y="2289404"/>
            <a:ext cx="925101" cy="1624566"/>
          </a:xfrm>
          <a:prstGeom prst="rect">
            <a:avLst/>
          </a:prstGeom>
          <a:noFill/>
          <a:ln>
            <a:noFill/>
          </a:ln>
        </p:spPr>
      </p:pic>
      <p:sp>
        <p:nvSpPr>
          <p:cNvPr id="201" name="Google Shape;201;p2"/>
          <p:cNvSpPr txBox="1"/>
          <p:nvPr/>
        </p:nvSpPr>
        <p:spPr>
          <a:xfrm>
            <a:off x="1322904" y="2001412"/>
            <a:ext cx="2698489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dirty="0">
                <a:solidFill>
                  <a:srgbClr val="484848"/>
                </a:solidFill>
                <a:latin typeface="Roboto Light"/>
                <a:ea typeface="Roboto Light"/>
                <a:cs typeface="Roboto Light"/>
                <a:sym typeface="Roboto Light"/>
              </a:rPr>
              <a:t>Системы- источники</a:t>
            </a:r>
            <a:endParaRPr dirty="0"/>
          </a:p>
        </p:txBody>
      </p:sp>
      <p:grpSp>
        <p:nvGrpSpPr>
          <p:cNvPr id="202" name="Google Shape;202;p2"/>
          <p:cNvGrpSpPr/>
          <p:nvPr/>
        </p:nvGrpSpPr>
        <p:grpSpPr>
          <a:xfrm>
            <a:off x="1014639" y="2636679"/>
            <a:ext cx="3186308" cy="1566026"/>
            <a:chOff x="1014639" y="2648165"/>
            <a:chExt cx="3186308" cy="1566026"/>
          </a:xfrm>
        </p:grpSpPr>
        <p:pic>
          <p:nvPicPr>
            <p:cNvPr id="203" name="Google Shape;203;p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154783" y="2648165"/>
              <a:ext cx="906020" cy="11792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4" name="Google Shape;204;p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014639" y="2994913"/>
              <a:ext cx="909312" cy="11792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5" name="Google Shape;205;p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291635" y="3034927"/>
              <a:ext cx="909312" cy="117926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6" name="Google Shape;206;p2"/>
          <p:cNvSpPr txBox="1"/>
          <p:nvPr/>
        </p:nvSpPr>
        <p:spPr>
          <a:xfrm>
            <a:off x="630183" y="376044"/>
            <a:ext cx="5118709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Как всё началось?</a:t>
            </a:r>
            <a:endParaRPr/>
          </a:p>
        </p:txBody>
      </p:sp>
      <p:grpSp>
        <p:nvGrpSpPr>
          <p:cNvPr id="207" name="Google Shape;207;p2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208" name="Google Shape;208;p2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" name="Google Shape;209;p2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2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11;p2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12" name="Google Shape;212;p2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4"/>
          <p:cNvSpPr/>
          <p:nvPr/>
        </p:nvSpPr>
        <p:spPr>
          <a:xfrm>
            <a:off x="0" y="2253345"/>
            <a:ext cx="12192000" cy="2621525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219" name="Google Shape;219;p4"/>
          <p:cNvGrpSpPr/>
          <p:nvPr/>
        </p:nvGrpSpPr>
        <p:grpSpPr>
          <a:xfrm>
            <a:off x="10291387" y="690463"/>
            <a:ext cx="1080352" cy="1787738"/>
            <a:chOff x="5100260" y="3454607"/>
            <a:chExt cx="1145867" cy="1896145"/>
          </a:xfrm>
        </p:grpSpPr>
        <p:grpSp>
          <p:nvGrpSpPr>
            <p:cNvPr id="220" name="Google Shape;220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221" name="Google Shape;221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222" name="Google Shape;222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3" name="Google Shape;223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24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25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26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27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8" name="Google Shape;228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29" name="Google Shape;229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30" name="Google Shape;230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231" name="Google Shape;231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232" name="Google Shape;232;p4"/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5467908" y="4296931"/>
                <a:ext cx="410720" cy="299623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233" name="Google Shape;233;p4"/>
          <p:cNvGrpSpPr/>
          <p:nvPr/>
        </p:nvGrpSpPr>
        <p:grpSpPr>
          <a:xfrm>
            <a:off x="10978541" y="2058852"/>
            <a:ext cx="1080352" cy="1787738"/>
            <a:chOff x="5100260" y="3454607"/>
            <a:chExt cx="1145867" cy="1896145"/>
          </a:xfrm>
        </p:grpSpPr>
        <p:grpSp>
          <p:nvGrpSpPr>
            <p:cNvPr id="234" name="Google Shape;234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235" name="Google Shape;235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236" name="Google Shape;236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7" name="Google Shape;237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8" name="Google Shape;238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9" name="Google Shape;239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0" name="Google Shape;240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1" name="Google Shape;241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42" name="Google Shape;242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43" name="Google Shape;243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44" name="Google Shape;244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245" name="Google Shape;245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246" name="Google Shape;246;p4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5462262" y="4341523"/>
                <a:ext cx="419200" cy="1560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47" name="Google Shape;247;p4"/>
          <p:cNvSpPr txBox="1"/>
          <p:nvPr/>
        </p:nvSpPr>
        <p:spPr>
          <a:xfrm>
            <a:off x="5516189" y="3725949"/>
            <a:ext cx="576001" cy="3110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lt1"/>
                </a:solidFill>
                <a:latin typeface="Roboto Light"/>
                <a:ea typeface="Roboto Light"/>
                <a:cs typeface="Roboto Light"/>
                <a:sym typeface="Roboto Light"/>
              </a:rPr>
              <a:t>2022 г.</a:t>
            </a:r>
            <a:endParaRPr sz="1200">
              <a:solidFill>
                <a:schemeClr val="lt1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grpSp>
        <p:nvGrpSpPr>
          <p:cNvPr id="248" name="Google Shape;248;p4"/>
          <p:cNvGrpSpPr/>
          <p:nvPr/>
        </p:nvGrpSpPr>
        <p:grpSpPr>
          <a:xfrm>
            <a:off x="967091" y="1613272"/>
            <a:ext cx="3096214" cy="3631458"/>
            <a:chOff x="967091" y="1613272"/>
            <a:chExt cx="3096214" cy="3631458"/>
          </a:xfrm>
        </p:grpSpPr>
        <p:grpSp>
          <p:nvGrpSpPr>
            <p:cNvPr id="249" name="Google Shape;249;p4"/>
            <p:cNvGrpSpPr/>
            <p:nvPr/>
          </p:nvGrpSpPr>
          <p:grpSpPr>
            <a:xfrm>
              <a:off x="967091" y="1613272"/>
              <a:ext cx="3096214" cy="3631458"/>
              <a:chOff x="750000" y="1470536"/>
              <a:chExt cx="3713910" cy="4355935"/>
            </a:xfrm>
          </p:grpSpPr>
          <p:grpSp>
            <p:nvGrpSpPr>
              <p:cNvPr id="250" name="Google Shape;250;p4"/>
              <p:cNvGrpSpPr/>
              <p:nvPr/>
            </p:nvGrpSpPr>
            <p:grpSpPr>
              <a:xfrm>
                <a:off x="750000" y="1470536"/>
                <a:ext cx="3713910" cy="3917588"/>
                <a:chOff x="750000" y="1470536"/>
                <a:chExt cx="3713910" cy="3917588"/>
              </a:xfrm>
            </p:grpSpPr>
            <p:sp>
              <p:nvSpPr>
                <p:cNvPr id="251" name="Google Shape;251;p4"/>
                <p:cNvSpPr/>
                <p:nvPr/>
              </p:nvSpPr>
              <p:spPr>
                <a:xfrm>
                  <a:off x="750000" y="1470536"/>
                  <a:ext cx="3713910" cy="39175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3910" h="3917588" extrusionOk="0">
                      <a:moveTo>
                        <a:pt x="3673777" y="1012557"/>
                      </a:moveTo>
                      <a:cubicBezTo>
                        <a:pt x="3682511" y="1025658"/>
                        <a:pt x="3690016" y="1039401"/>
                        <a:pt x="3695441" y="1054203"/>
                      </a:cubicBezTo>
                      <a:cubicBezTo>
                        <a:pt x="3697785" y="1060574"/>
                        <a:pt x="3700319" y="1066585"/>
                        <a:pt x="3705196" y="1071841"/>
                      </a:cubicBezTo>
                      <a:cubicBezTo>
                        <a:pt x="3709752" y="1076756"/>
                        <a:pt x="3712965" y="1083089"/>
                        <a:pt x="3713911" y="1090821"/>
                      </a:cubicBezTo>
                      <a:cubicBezTo>
                        <a:pt x="3682019" y="1108175"/>
                        <a:pt x="3648805" y="1122523"/>
                        <a:pt x="3616346" y="1138421"/>
                      </a:cubicBezTo>
                      <a:cubicBezTo>
                        <a:pt x="3549917" y="1170936"/>
                        <a:pt x="3483280" y="1203017"/>
                        <a:pt x="3417532" y="1236855"/>
                      </a:cubicBezTo>
                      <a:cubicBezTo>
                        <a:pt x="3373523" y="1259502"/>
                        <a:pt x="3329608" y="1282452"/>
                        <a:pt x="3284806" y="1303378"/>
                      </a:cubicBezTo>
                      <a:cubicBezTo>
                        <a:pt x="3203272" y="1341470"/>
                        <a:pt x="3122457" y="1381037"/>
                        <a:pt x="3042474" y="1422191"/>
                      </a:cubicBezTo>
                      <a:cubicBezTo>
                        <a:pt x="2998446" y="1444857"/>
                        <a:pt x="2954551" y="1467863"/>
                        <a:pt x="2909748" y="1488828"/>
                      </a:cubicBezTo>
                      <a:cubicBezTo>
                        <a:pt x="2830918" y="1525729"/>
                        <a:pt x="2752711" y="1563934"/>
                        <a:pt x="2675337" y="1603708"/>
                      </a:cubicBezTo>
                      <a:cubicBezTo>
                        <a:pt x="2634088" y="1624919"/>
                        <a:pt x="2593047" y="1646583"/>
                        <a:pt x="2551099" y="1666281"/>
                      </a:cubicBezTo>
                      <a:cubicBezTo>
                        <a:pt x="2469584" y="1704524"/>
                        <a:pt x="2388693" y="1744034"/>
                        <a:pt x="2308615" y="1785112"/>
                      </a:cubicBezTo>
                      <a:cubicBezTo>
                        <a:pt x="2270146" y="1804829"/>
                        <a:pt x="2231505" y="1824206"/>
                        <a:pt x="2192903" y="1843677"/>
                      </a:cubicBezTo>
                      <a:cubicBezTo>
                        <a:pt x="2167515" y="1856494"/>
                        <a:pt x="2141541" y="1868177"/>
                        <a:pt x="2115831" y="1880370"/>
                      </a:cubicBezTo>
                      <a:cubicBezTo>
                        <a:pt x="2113147" y="1878990"/>
                        <a:pt x="2112693" y="1880673"/>
                        <a:pt x="2112542" y="1882771"/>
                      </a:cubicBezTo>
                      <a:cubicBezTo>
                        <a:pt x="2111124" y="1883225"/>
                        <a:pt x="2109706" y="1883660"/>
                        <a:pt x="2108270" y="1884113"/>
                      </a:cubicBezTo>
                      <a:cubicBezTo>
                        <a:pt x="2105585" y="1882771"/>
                        <a:pt x="2105094" y="1884416"/>
                        <a:pt x="2104942" y="1886533"/>
                      </a:cubicBezTo>
                      <a:cubicBezTo>
                        <a:pt x="2103525" y="1886968"/>
                        <a:pt x="2102126" y="1887421"/>
                        <a:pt x="2100708" y="1887856"/>
                      </a:cubicBezTo>
                      <a:cubicBezTo>
                        <a:pt x="2098023" y="1886533"/>
                        <a:pt x="2097513" y="1888178"/>
                        <a:pt x="2097343" y="1890295"/>
                      </a:cubicBezTo>
                      <a:cubicBezTo>
                        <a:pt x="2095944" y="1890730"/>
                        <a:pt x="2094545" y="1891165"/>
                        <a:pt x="2093146" y="1891599"/>
                      </a:cubicBezTo>
                      <a:cubicBezTo>
                        <a:pt x="2090481" y="1890314"/>
                        <a:pt x="2089933" y="1891940"/>
                        <a:pt x="2089762" y="1894076"/>
                      </a:cubicBezTo>
                      <a:cubicBezTo>
                        <a:pt x="2088382" y="1894511"/>
                        <a:pt x="2086983" y="1894926"/>
                        <a:pt x="2085603" y="1895361"/>
                      </a:cubicBezTo>
                      <a:cubicBezTo>
                        <a:pt x="2082938" y="1894095"/>
                        <a:pt x="2082371" y="1895720"/>
                        <a:pt x="2082182" y="1897857"/>
                      </a:cubicBezTo>
                      <a:cubicBezTo>
                        <a:pt x="2080802" y="1898272"/>
                        <a:pt x="2079422" y="1898688"/>
                        <a:pt x="2078042" y="1899123"/>
                      </a:cubicBezTo>
                      <a:cubicBezTo>
                        <a:pt x="2075376" y="1897876"/>
                        <a:pt x="2074790" y="1899501"/>
                        <a:pt x="2074582" y="1901637"/>
                      </a:cubicBezTo>
                      <a:cubicBezTo>
                        <a:pt x="2073221" y="1902053"/>
                        <a:pt x="2071860" y="1902450"/>
                        <a:pt x="2070480" y="1902866"/>
                      </a:cubicBezTo>
                      <a:cubicBezTo>
                        <a:pt x="2067815" y="1901656"/>
                        <a:pt x="2067210" y="1903263"/>
                        <a:pt x="2066983" y="1905418"/>
                      </a:cubicBezTo>
                      <a:cubicBezTo>
                        <a:pt x="2065622" y="1905815"/>
                        <a:pt x="2064280" y="1906231"/>
                        <a:pt x="2062919" y="1906628"/>
                      </a:cubicBezTo>
                      <a:cubicBezTo>
                        <a:pt x="2060253" y="1905418"/>
                        <a:pt x="2059610" y="1907044"/>
                        <a:pt x="2059383" y="1909199"/>
                      </a:cubicBezTo>
                      <a:cubicBezTo>
                        <a:pt x="2058041" y="1909596"/>
                        <a:pt x="2056699" y="1909974"/>
                        <a:pt x="2055357" y="1910371"/>
                      </a:cubicBezTo>
                      <a:cubicBezTo>
                        <a:pt x="2052691" y="1909199"/>
                        <a:pt x="2052030" y="1910806"/>
                        <a:pt x="2051765" y="1912961"/>
                      </a:cubicBezTo>
                      <a:cubicBezTo>
                        <a:pt x="2022445" y="1924549"/>
                        <a:pt x="1994826" y="1939578"/>
                        <a:pt x="1967207" y="1954607"/>
                      </a:cubicBezTo>
                      <a:cubicBezTo>
                        <a:pt x="1965676" y="1955439"/>
                        <a:pt x="1964711" y="1957348"/>
                        <a:pt x="1963143" y="1959144"/>
                      </a:cubicBezTo>
                      <a:cubicBezTo>
                        <a:pt x="1967074" y="1964342"/>
                        <a:pt x="1973181" y="1965930"/>
                        <a:pt x="1978417" y="1968558"/>
                      </a:cubicBezTo>
                      <a:cubicBezTo>
                        <a:pt x="2169368" y="2064534"/>
                        <a:pt x="2360337" y="2160435"/>
                        <a:pt x="2551345" y="2256279"/>
                      </a:cubicBezTo>
                      <a:cubicBezTo>
                        <a:pt x="2728022" y="2344939"/>
                        <a:pt x="2904738" y="2433486"/>
                        <a:pt x="3081416" y="2522147"/>
                      </a:cubicBezTo>
                      <a:cubicBezTo>
                        <a:pt x="3178489" y="2570862"/>
                        <a:pt x="3275467" y="2619786"/>
                        <a:pt x="3372521" y="2668521"/>
                      </a:cubicBezTo>
                      <a:cubicBezTo>
                        <a:pt x="3478838" y="2721906"/>
                        <a:pt x="3585211" y="2775216"/>
                        <a:pt x="3691547" y="2828545"/>
                      </a:cubicBezTo>
                      <a:cubicBezTo>
                        <a:pt x="3694364" y="2829962"/>
                        <a:pt x="3697067" y="2831645"/>
                        <a:pt x="3699997" y="2832760"/>
                      </a:cubicBezTo>
                      <a:cubicBezTo>
                        <a:pt x="3708561" y="2836031"/>
                        <a:pt x="3709373" y="2840719"/>
                        <a:pt x="3704912" y="2848696"/>
                      </a:cubicBezTo>
                      <a:cubicBezTo>
                        <a:pt x="3688995" y="2877204"/>
                        <a:pt x="3674306" y="2906411"/>
                        <a:pt x="3658011" y="2934691"/>
                      </a:cubicBezTo>
                      <a:cubicBezTo>
                        <a:pt x="3641300" y="2963690"/>
                        <a:pt x="3623265" y="2991914"/>
                        <a:pt x="3605817" y="3020478"/>
                      </a:cubicBezTo>
                      <a:cubicBezTo>
                        <a:pt x="3603510" y="3020554"/>
                        <a:pt x="3602225" y="3021537"/>
                        <a:pt x="3602622" y="3024032"/>
                      </a:cubicBezTo>
                      <a:cubicBezTo>
                        <a:pt x="3585986" y="3050063"/>
                        <a:pt x="3568708" y="3075640"/>
                        <a:pt x="3550503" y="3100632"/>
                      </a:cubicBezTo>
                      <a:cubicBezTo>
                        <a:pt x="3539482" y="3115774"/>
                        <a:pt x="3529539" y="3131805"/>
                        <a:pt x="3517610" y="3146247"/>
                      </a:cubicBezTo>
                      <a:cubicBezTo>
                        <a:pt x="3500691" y="3166758"/>
                        <a:pt x="3484036" y="3187534"/>
                        <a:pt x="3467136" y="3208007"/>
                      </a:cubicBezTo>
                      <a:cubicBezTo>
                        <a:pt x="3447684" y="3231581"/>
                        <a:pt x="3427608" y="3254606"/>
                        <a:pt x="3407683" y="3277744"/>
                      </a:cubicBezTo>
                      <a:cubicBezTo>
                        <a:pt x="3392654" y="3295193"/>
                        <a:pt x="3376396" y="3311640"/>
                        <a:pt x="3360158" y="3328010"/>
                      </a:cubicBezTo>
                      <a:cubicBezTo>
                        <a:pt x="3338928" y="3349391"/>
                        <a:pt x="3317189" y="3370261"/>
                        <a:pt x="3295676" y="3391358"/>
                      </a:cubicBezTo>
                      <a:cubicBezTo>
                        <a:pt x="3293180" y="3390886"/>
                        <a:pt x="3292216" y="3392096"/>
                        <a:pt x="3292273" y="3394421"/>
                      </a:cubicBezTo>
                      <a:cubicBezTo>
                        <a:pt x="3266091" y="3417938"/>
                        <a:pt x="3240646" y="3442305"/>
                        <a:pt x="3212441" y="3463515"/>
                      </a:cubicBezTo>
                      <a:cubicBezTo>
                        <a:pt x="3209889" y="3462702"/>
                        <a:pt x="3209114" y="3463818"/>
                        <a:pt x="3209492" y="3466200"/>
                      </a:cubicBezTo>
                      <a:cubicBezTo>
                        <a:pt x="3203764" y="3472589"/>
                        <a:pt x="3197109" y="3477864"/>
                        <a:pt x="3189756" y="3482249"/>
                      </a:cubicBezTo>
                      <a:cubicBezTo>
                        <a:pt x="3187147" y="3481493"/>
                        <a:pt x="3186334" y="3482684"/>
                        <a:pt x="3186599" y="3485104"/>
                      </a:cubicBezTo>
                      <a:cubicBezTo>
                        <a:pt x="3172591" y="3498318"/>
                        <a:pt x="3154254" y="3505785"/>
                        <a:pt x="3140813" y="3519736"/>
                      </a:cubicBezTo>
                      <a:cubicBezTo>
                        <a:pt x="3138450" y="3519453"/>
                        <a:pt x="3137221" y="3520303"/>
                        <a:pt x="3137675" y="3522855"/>
                      </a:cubicBezTo>
                      <a:cubicBezTo>
                        <a:pt x="3126786" y="3534708"/>
                        <a:pt x="3110756" y="3539132"/>
                        <a:pt x="3098789" y="3549699"/>
                      </a:cubicBezTo>
                      <a:cubicBezTo>
                        <a:pt x="3095330" y="3552762"/>
                        <a:pt x="3092040" y="3556731"/>
                        <a:pt x="3087522" y="3558773"/>
                      </a:cubicBezTo>
                      <a:cubicBezTo>
                        <a:pt x="3085121" y="3557355"/>
                        <a:pt x="3084743" y="3558471"/>
                        <a:pt x="3085178" y="3560626"/>
                      </a:cubicBezTo>
                      <a:cubicBezTo>
                        <a:pt x="3071907" y="3573745"/>
                        <a:pt x="3053381" y="3578906"/>
                        <a:pt x="3039525" y="3591269"/>
                      </a:cubicBezTo>
                      <a:cubicBezTo>
                        <a:pt x="3023399" y="3605655"/>
                        <a:pt x="3003021" y="3613652"/>
                        <a:pt x="2985553" y="3626053"/>
                      </a:cubicBezTo>
                      <a:cubicBezTo>
                        <a:pt x="2982945" y="3625108"/>
                        <a:pt x="2982113" y="3626904"/>
                        <a:pt x="2981338" y="3628775"/>
                      </a:cubicBezTo>
                      <a:cubicBezTo>
                        <a:pt x="2976442" y="3631686"/>
                        <a:pt x="2971527" y="3634598"/>
                        <a:pt x="2966630" y="3637509"/>
                      </a:cubicBezTo>
                      <a:cubicBezTo>
                        <a:pt x="2964040" y="3636450"/>
                        <a:pt x="2963266" y="3638265"/>
                        <a:pt x="2962509" y="3640099"/>
                      </a:cubicBezTo>
                      <a:cubicBezTo>
                        <a:pt x="2957594" y="3642953"/>
                        <a:pt x="2952679" y="3645827"/>
                        <a:pt x="2947764" y="3648681"/>
                      </a:cubicBezTo>
                      <a:cubicBezTo>
                        <a:pt x="2945136" y="3647755"/>
                        <a:pt x="2944399" y="3649211"/>
                        <a:pt x="2944286" y="3651441"/>
                      </a:cubicBezTo>
                      <a:cubicBezTo>
                        <a:pt x="2936762" y="3655846"/>
                        <a:pt x="2929994" y="3661649"/>
                        <a:pt x="2921279" y="3663861"/>
                      </a:cubicBezTo>
                      <a:cubicBezTo>
                        <a:pt x="2918633" y="3662859"/>
                        <a:pt x="2917933" y="3664353"/>
                        <a:pt x="2917801" y="3666565"/>
                      </a:cubicBezTo>
                      <a:cubicBezTo>
                        <a:pt x="2905097" y="3673238"/>
                        <a:pt x="2892394" y="3679892"/>
                        <a:pt x="2879690" y="3686565"/>
                      </a:cubicBezTo>
                      <a:cubicBezTo>
                        <a:pt x="2877044" y="3685506"/>
                        <a:pt x="2876344" y="3687038"/>
                        <a:pt x="2876155" y="3689231"/>
                      </a:cubicBezTo>
                      <a:cubicBezTo>
                        <a:pt x="2848234" y="3706074"/>
                        <a:pt x="2819027" y="3720101"/>
                        <a:pt x="2788459" y="3731670"/>
                      </a:cubicBezTo>
                      <a:cubicBezTo>
                        <a:pt x="2773090" y="3737493"/>
                        <a:pt x="2758647" y="3745848"/>
                        <a:pt x="2743675" y="3752824"/>
                      </a:cubicBezTo>
                      <a:cubicBezTo>
                        <a:pt x="2706434" y="3770159"/>
                        <a:pt x="2667964" y="3784054"/>
                        <a:pt x="2629778" y="3798818"/>
                      </a:cubicBezTo>
                      <a:cubicBezTo>
                        <a:pt x="2607830" y="3807306"/>
                        <a:pt x="2585126" y="3813922"/>
                        <a:pt x="2563235" y="3822542"/>
                      </a:cubicBezTo>
                      <a:cubicBezTo>
                        <a:pt x="2541949" y="3830917"/>
                        <a:pt x="2519737" y="3835927"/>
                        <a:pt x="2497884" y="3842052"/>
                      </a:cubicBezTo>
                      <a:cubicBezTo>
                        <a:pt x="2459225" y="3852846"/>
                        <a:pt x="2420490" y="3863205"/>
                        <a:pt x="2381188" y="3871901"/>
                      </a:cubicBezTo>
                      <a:cubicBezTo>
                        <a:pt x="2347955" y="3879255"/>
                        <a:pt x="2314476" y="3884510"/>
                        <a:pt x="2281186" y="3891127"/>
                      </a:cubicBezTo>
                      <a:cubicBezTo>
                        <a:pt x="2227082" y="3901883"/>
                        <a:pt x="2172222" y="3906779"/>
                        <a:pt x="2117419" y="3911354"/>
                      </a:cubicBezTo>
                      <a:cubicBezTo>
                        <a:pt x="2013465" y="3920031"/>
                        <a:pt x="1909360" y="3919105"/>
                        <a:pt x="1805350" y="3911940"/>
                      </a:cubicBezTo>
                      <a:cubicBezTo>
                        <a:pt x="1764857" y="3909142"/>
                        <a:pt x="1724289" y="3905475"/>
                        <a:pt x="1684174" y="3899955"/>
                      </a:cubicBezTo>
                      <a:cubicBezTo>
                        <a:pt x="1652018" y="3895531"/>
                        <a:pt x="1619692" y="3890163"/>
                        <a:pt x="1587763" y="3882922"/>
                      </a:cubicBezTo>
                      <a:cubicBezTo>
                        <a:pt x="1551165" y="3874642"/>
                        <a:pt x="1513943" y="3868650"/>
                        <a:pt x="1477703" y="3858914"/>
                      </a:cubicBezTo>
                      <a:cubicBezTo>
                        <a:pt x="1449990" y="3851466"/>
                        <a:pt x="1422333" y="3843564"/>
                        <a:pt x="1394884" y="3834963"/>
                      </a:cubicBezTo>
                      <a:cubicBezTo>
                        <a:pt x="1373277" y="3828195"/>
                        <a:pt x="1350819" y="3823752"/>
                        <a:pt x="1329646" y="3815699"/>
                      </a:cubicBezTo>
                      <a:cubicBezTo>
                        <a:pt x="1262499" y="3790179"/>
                        <a:pt x="1195692" y="3763845"/>
                        <a:pt x="1130227" y="3734166"/>
                      </a:cubicBezTo>
                      <a:cubicBezTo>
                        <a:pt x="1093590" y="3717568"/>
                        <a:pt x="1058240" y="3698683"/>
                        <a:pt x="1022776" y="3679798"/>
                      </a:cubicBezTo>
                      <a:cubicBezTo>
                        <a:pt x="956025" y="3644239"/>
                        <a:pt x="892734" y="3603330"/>
                        <a:pt x="830823" y="3560172"/>
                      </a:cubicBezTo>
                      <a:cubicBezTo>
                        <a:pt x="725168" y="3486559"/>
                        <a:pt x="628284" y="3402512"/>
                        <a:pt x="539586" y="3309352"/>
                      </a:cubicBezTo>
                      <a:cubicBezTo>
                        <a:pt x="457996" y="3223660"/>
                        <a:pt x="384856" y="3130992"/>
                        <a:pt x="320034" y="3031859"/>
                      </a:cubicBezTo>
                      <a:cubicBezTo>
                        <a:pt x="292471" y="2989721"/>
                        <a:pt x="266800" y="2946469"/>
                        <a:pt x="242186" y="2902573"/>
                      </a:cubicBezTo>
                      <a:cubicBezTo>
                        <a:pt x="214889" y="2853895"/>
                        <a:pt x="191296" y="2803402"/>
                        <a:pt x="167836" y="2752815"/>
                      </a:cubicBezTo>
                      <a:cubicBezTo>
                        <a:pt x="150842" y="2716216"/>
                        <a:pt x="135208" y="2678956"/>
                        <a:pt x="121654" y="2641129"/>
                      </a:cubicBezTo>
                      <a:cubicBezTo>
                        <a:pt x="112731" y="2616176"/>
                        <a:pt x="99649" y="2592678"/>
                        <a:pt x="93732" y="2566836"/>
                      </a:cubicBezTo>
                      <a:cubicBezTo>
                        <a:pt x="80291" y="2508101"/>
                        <a:pt x="60990" y="2450935"/>
                        <a:pt x="47984" y="2392048"/>
                      </a:cubicBezTo>
                      <a:cubicBezTo>
                        <a:pt x="30082" y="2311063"/>
                        <a:pt x="16566" y="2229454"/>
                        <a:pt x="9212" y="2146843"/>
                      </a:cubicBezTo>
                      <a:cubicBezTo>
                        <a:pt x="8550" y="2139338"/>
                        <a:pt x="7000" y="2131909"/>
                        <a:pt x="5866" y="2124461"/>
                      </a:cubicBezTo>
                      <a:cubicBezTo>
                        <a:pt x="7170" y="2120755"/>
                        <a:pt x="7473" y="2117201"/>
                        <a:pt x="4183" y="2114252"/>
                      </a:cubicBezTo>
                      <a:cubicBezTo>
                        <a:pt x="7227" y="2104195"/>
                        <a:pt x="4032" y="2094270"/>
                        <a:pt x="3484" y="2084327"/>
                      </a:cubicBezTo>
                      <a:cubicBezTo>
                        <a:pt x="-3454" y="1958274"/>
                        <a:pt x="-410" y="1832618"/>
                        <a:pt x="16055" y="1707284"/>
                      </a:cubicBezTo>
                      <a:cubicBezTo>
                        <a:pt x="19874" y="1678247"/>
                        <a:pt x="22312" y="1648625"/>
                        <a:pt x="27851" y="1620193"/>
                      </a:cubicBezTo>
                      <a:cubicBezTo>
                        <a:pt x="41311" y="1550928"/>
                        <a:pt x="57285" y="1482060"/>
                        <a:pt x="76964" y="1414119"/>
                      </a:cubicBezTo>
                      <a:cubicBezTo>
                        <a:pt x="88987" y="1372643"/>
                        <a:pt x="102390" y="1331584"/>
                        <a:pt x="116474" y="1290864"/>
                      </a:cubicBezTo>
                      <a:cubicBezTo>
                        <a:pt x="134792" y="1237932"/>
                        <a:pt x="157553" y="1186589"/>
                        <a:pt x="181372" y="1135831"/>
                      </a:cubicBezTo>
                      <a:cubicBezTo>
                        <a:pt x="190881" y="1115566"/>
                        <a:pt x="197459" y="1094110"/>
                        <a:pt x="208329" y="1074393"/>
                      </a:cubicBezTo>
                      <a:cubicBezTo>
                        <a:pt x="281942" y="940930"/>
                        <a:pt x="362511" y="812193"/>
                        <a:pt x="461758" y="695857"/>
                      </a:cubicBezTo>
                      <a:cubicBezTo>
                        <a:pt x="481191" y="673096"/>
                        <a:pt x="499963" y="649466"/>
                        <a:pt x="520398" y="627896"/>
                      </a:cubicBezTo>
                      <a:cubicBezTo>
                        <a:pt x="543650" y="603359"/>
                        <a:pt x="567791" y="579369"/>
                        <a:pt x="592158" y="555739"/>
                      </a:cubicBezTo>
                      <a:cubicBezTo>
                        <a:pt x="715602" y="435944"/>
                        <a:pt x="852204" y="333805"/>
                        <a:pt x="1002454" y="250041"/>
                      </a:cubicBezTo>
                      <a:cubicBezTo>
                        <a:pt x="1028806" y="235352"/>
                        <a:pt x="1054837" y="220191"/>
                        <a:pt x="1082135" y="206958"/>
                      </a:cubicBezTo>
                      <a:cubicBezTo>
                        <a:pt x="1164746" y="166881"/>
                        <a:pt x="1249398" y="132249"/>
                        <a:pt x="1336149" y="102210"/>
                      </a:cubicBezTo>
                      <a:cubicBezTo>
                        <a:pt x="1375016" y="88751"/>
                        <a:pt x="1414431" y="77011"/>
                        <a:pt x="1453846" y="65877"/>
                      </a:cubicBezTo>
                      <a:cubicBezTo>
                        <a:pt x="1504642" y="51509"/>
                        <a:pt x="1556571" y="40205"/>
                        <a:pt x="1608652" y="31471"/>
                      </a:cubicBezTo>
                      <a:cubicBezTo>
                        <a:pt x="1762154" y="5761"/>
                        <a:pt x="1916619" y="-6772"/>
                        <a:pt x="2072427" y="3701"/>
                      </a:cubicBezTo>
                      <a:cubicBezTo>
                        <a:pt x="2114565" y="6536"/>
                        <a:pt x="2156645" y="9486"/>
                        <a:pt x="2198480" y="15270"/>
                      </a:cubicBezTo>
                      <a:cubicBezTo>
                        <a:pt x="2235551" y="20393"/>
                        <a:pt x="2273038" y="23701"/>
                        <a:pt x="2309523" y="31584"/>
                      </a:cubicBezTo>
                      <a:cubicBezTo>
                        <a:pt x="2337217" y="37577"/>
                        <a:pt x="2364893" y="44080"/>
                        <a:pt x="2392720" y="49487"/>
                      </a:cubicBezTo>
                      <a:cubicBezTo>
                        <a:pt x="2426407" y="56009"/>
                        <a:pt x="2459300" y="65461"/>
                        <a:pt x="2492231" y="74648"/>
                      </a:cubicBezTo>
                      <a:cubicBezTo>
                        <a:pt x="2530342" y="85291"/>
                        <a:pt x="2567923" y="98014"/>
                        <a:pt x="2605372" y="110831"/>
                      </a:cubicBezTo>
                      <a:cubicBezTo>
                        <a:pt x="2768591" y="166711"/>
                        <a:pt x="2920863" y="244350"/>
                        <a:pt x="3063514" y="341272"/>
                      </a:cubicBezTo>
                      <a:cubicBezTo>
                        <a:pt x="3175426" y="417304"/>
                        <a:pt x="3278114" y="504188"/>
                        <a:pt x="3371916" y="601563"/>
                      </a:cubicBezTo>
                      <a:cubicBezTo>
                        <a:pt x="3477212" y="710885"/>
                        <a:pt x="3568557" y="830908"/>
                        <a:pt x="3645515" y="961762"/>
                      </a:cubicBezTo>
                      <a:cubicBezTo>
                        <a:pt x="3654684" y="977339"/>
                        <a:pt x="3665421" y="992217"/>
                        <a:pt x="3671112" y="1009703"/>
                      </a:cubicBezTo>
                      <a:cubicBezTo>
                        <a:pt x="3670545" y="1012085"/>
                        <a:pt x="3671527" y="1012973"/>
                        <a:pt x="3673853" y="1012557"/>
                      </a:cubicBezTo>
                      <a:close/>
                    </a:path>
                  </a:pathLst>
                </a:custGeom>
                <a:solidFill>
                  <a:srgbClr val="00BEF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2" name="Google Shape;252;p4"/>
                <p:cNvSpPr/>
                <p:nvPr/>
              </p:nvSpPr>
              <p:spPr>
                <a:xfrm>
                  <a:off x="752928" y="3584769"/>
                  <a:ext cx="3820" cy="102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20" h="10208" extrusionOk="0">
                      <a:moveTo>
                        <a:pt x="1217" y="0"/>
                      </a:moveTo>
                      <a:cubicBezTo>
                        <a:pt x="4506" y="2949"/>
                        <a:pt x="4204" y="6503"/>
                        <a:pt x="2899" y="10208"/>
                      </a:cubicBezTo>
                      <a:cubicBezTo>
                        <a:pt x="-673" y="7297"/>
                        <a:pt x="-579" y="3781"/>
                        <a:pt x="1217" y="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3" name="Google Shape;253;p4"/>
                <p:cNvSpPr/>
                <p:nvPr/>
              </p:nvSpPr>
              <p:spPr>
                <a:xfrm>
                  <a:off x="4420879" y="2480239"/>
                  <a:ext cx="2898" cy="29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98" h="2953" extrusionOk="0">
                      <a:moveTo>
                        <a:pt x="2898" y="2855"/>
                      </a:moveTo>
                      <a:cubicBezTo>
                        <a:pt x="573" y="3270"/>
                        <a:pt x="-410" y="2382"/>
                        <a:pt x="157" y="0"/>
                      </a:cubicBezTo>
                      <a:cubicBezTo>
                        <a:pt x="1064" y="945"/>
                        <a:pt x="1991" y="1890"/>
                        <a:pt x="2898" y="285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4" name="Google Shape;254;p4"/>
                <p:cNvSpPr/>
                <p:nvPr/>
              </p:nvSpPr>
              <p:spPr>
                <a:xfrm>
                  <a:off x="2862542" y="3350385"/>
                  <a:ext cx="3289" cy="290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9" h="2903" extrusionOk="0">
                      <a:moveTo>
                        <a:pt x="0" y="2903"/>
                      </a:moveTo>
                      <a:cubicBezTo>
                        <a:pt x="151" y="805"/>
                        <a:pt x="605" y="-878"/>
                        <a:pt x="3289" y="502"/>
                      </a:cubicBezTo>
                      <a:cubicBezTo>
                        <a:pt x="2193" y="1296"/>
                        <a:pt x="1096" y="2090"/>
                        <a:pt x="0" y="290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5" name="Google Shape;255;p4"/>
                <p:cNvSpPr/>
                <p:nvPr/>
              </p:nvSpPr>
              <p:spPr>
                <a:xfrm>
                  <a:off x="2854961" y="3354136"/>
                  <a:ext cx="3327" cy="29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27" h="2913" extrusionOk="0">
                      <a:moveTo>
                        <a:pt x="0" y="2914"/>
                      </a:moveTo>
                      <a:cubicBezTo>
                        <a:pt x="151" y="796"/>
                        <a:pt x="643" y="-867"/>
                        <a:pt x="3327" y="494"/>
                      </a:cubicBezTo>
                      <a:cubicBezTo>
                        <a:pt x="2212" y="1307"/>
                        <a:pt x="1115" y="2120"/>
                        <a:pt x="0" y="291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6" name="Google Shape;256;p4"/>
                <p:cNvSpPr/>
                <p:nvPr/>
              </p:nvSpPr>
              <p:spPr>
                <a:xfrm>
                  <a:off x="2847361" y="3357917"/>
                  <a:ext cx="3364" cy="29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4" h="2913" extrusionOk="0">
                      <a:moveTo>
                        <a:pt x="0" y="2914"/>
                      </a:moveTo>
                      <a:cubicBezTo>
                        <a:pt x="170" y="796"/>
                        <a:pt x="681" y="-848"/>
                        <a:pt x="3365" y="475"/>
                      </a:cubicBezTo>
                      <a:cubicBezTo>
                        <a:pt x="2250" y="1288"/>
                        <a:pt x="1115" y="2101"/>
                        <a:pt x="0" y="291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7" name="Google Shape;257;p4"/>
                <p:cNvSpPr/>
                <p:nvPr/>
              </p:nvSpPr>
              <p:spPr>
                <a:xfrm>
                  <a:off x="2839781" y="3361660"/>
                  <a:ext cx="3383" cy="29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83" h="2932" extrusionOk="0">
                      <a:moveTo>
                        <a:pt x="0" y="2932"/>
                      </a:moveTo>
                      <a:cubicBezTo>
                        <a:pt x="170" y="796"/>
                        <a:pt x="718" y="-830"/>
                        <a:pt x="3384" y="456"/>
                      </a:cubicBezTo>
                      <a:cubicBezTo>
                        <a:pt x="2250" y="1288"/>
                        <a:pt x="1115" y="2101"/>
                        <a:pt x="0" y="293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8" name="Google Shape;258;p4"/>
                <p:cNvSpPr/>
                <p:nvPr/>
              </p:nvSpPr>
              <p:spPr>
                <a:xfrm>
                  <a:off x="2832181" y="3365433"/>
                  <a:ext cx="3421" cy="29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21" h="2940" extrusionOk="0">
                      <a:moveTo>
                        <a:pt x="0" y="2940"/>
                      </a:moveTo>
                      <a:cubicBezTo>
                        <a:pt x="189" y="804"/>
                        <a:pt x="756" y="-821"/>
                        <a:pt x="3422" y="445"/>
                      </a:cubicBezTo>
                      <a:cubicBezTo>
                        <a:pt x="2288" y="1277"/>
                        <a:pt x="1134" y="2109"/>
                        <a:pt x="0" y="294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59" name="Google Shape;259;p4"/>
                <p:cNvSpPr/>
                <p:nvPr/>
              </p:nvSpPr>
              <p:spPr>
                <a:xfrm>
                  <a:off x="2824601" y="3369187"/>
                  <a:ext cx="3459" cy="29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9" h="2948" extrusionOk="0">
                      <a:moveTo>
                        <a:pt x="0" y="2949"/>
                      </a:moveTo>
                      <a:cubicBezTo>
                        <a:pt x="208" y="812"/>
                        <a:pt x="794" y="-813"/>
                        <a:pt x="3460" y="435"/>
                      </a:cubicBezTo>
                      <a:cubicBezTo>
                        <a:pt x="2306" y="1266"/>
                        <a:pt x="1153" y="2117"/>
                        <a:pt x="0" y="294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0" name="Google Shape;260;p4"/>
                <p:cNvSpPr/>
                <p:nvPr/>
              </p:nvSpPr>
              <p:spPr>
                <a:xfrm>
                  <a:off x="2817002" y="3372948"/>
                  <a:ext cx="3497" cy="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7" h="2967" extrusionOk="0">
                      <a:moveTo>
                        <a:pt x="0" y="2968"/>
                      </a:moveTo>
                      <a:cubicBezTo>
                        <a:pt x="227" y="813"/>
                        <a:pt x="832" y="-794"/>
                        <a:pt x="3497" y="416"/>
                      </a:cubicBezTo>
                      <a:cubicBezTo>
                        <a:pt x="2325" y="1266"/>
                        <a:pt x="1172" y="2117"/>
                        <a:pt x="0" y="296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1" name="Google Shape;261;p4"/>
                <p:cNvSpPr/>
                <p:nvPr/>
              </p:nvSpPr>
              <p:spPr>
                <a:xfrm>
                  <a:off x="2809402" y="3376702"/>
                  <a:ext cx="3535" cy="29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5" h="2976" extrusionOk="0">
                      <a:moveTo>
                        <a:pt x="0" y="2976"/>
                      </a:moveTo>
                      <a:cubicBezTo>
                        <a:pt x="246" y="821"/>
                        <a:pt x="870" y="-786"/>
                        <a:pt x="3535" y="405"/>
                      </a:cubicBezTo>
                      <a:cubicBezTo>
                        <a:pt x="2363" y="1256"/>
                        <a:pt x="1172" y="2107"/>
                        <a:pt x="0" y="297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2" name="Google Shape;262;p4"/>
                <p:cNvSpPr/>
                <p:nvPr/>
              </p:nvSpPr>
              <p:spPr>
                <a:xfrm>
                  <a:off x="2801803" y="3380455"/>
                  <a:ext cx="3591" cy="29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91" h="2984" extrusionOk="0">
                      <a:moveTo>
                        <a:pt x="0" y="2985"/>
                      </a:moveTo>
                      <a:cubicBezTo>
                        <a:pt x="265" y="830"/>
                        <a:pt x="926" y="-777"/>
                        <a:pt x="3592" y="395"/>
                      </a:cubicBezTo>
                      <a:cubicBezTo>
                        <a:pt x="2401" y="1264"/>
                        <a:pt x="1191" y="2115"/>
                        <a:pt x="0" y="298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3" name="Google Shape;263;p4"/>
                <p:cNvSpPr/>
                <p:nvPr/>
              </p:nvSpPr>
              <p:spPr>
                <a:xfrm>
                  <a:off x="4352588" y="4490957"/>
                  <a:ext cx="3266" cy="35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6" h="3553" extrusionOk="0">
                      <a:moveTo>
                        <a:pt x="71" y="3554"/>
                      </a:moveTo>
                      <a:cubicBezTo>
                        <a:pt x="-326" y="1059"/>
                        <a:pt x="960" y="76"/>
                        <a:pt x="3266" y="0"/>
                      </a:cubicBezTo>
                      <a:cubicBezTo>
                        <a:pt x="2208" y="1191"/>
                        <a:pt x="1130" y="2363"/>
                        <a:pt x="71" y="355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4" name="Google Shape;264;p4"/>
                <p:cNvSpPr/>
                <p:nvPr/>
              </p:nvSpPr>
              <p:spPr>
                <a:xfrm>
                  <a:off x="4042289" y="4861748"/>
                  <a:ext cx="3405" cy="31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05" h="3170" extrusionOk="0">
                      <a:moveTo>
                        <a:pt x="2" y="3171"/>
                      </a:moveTo>
                      <a:cubicBezTo>
                        <a:pt x="-54" y="827"/>
                        <a:pt x="910" y="-383"/>
                        <a:pt x="3405" y="108"/>
                      </a:cubicBezTo>
                      <a:cubicBezTo>
                        <a:pt x="2271" y="1129"/>
                        <a:pt x="1137" y="2150"/>
                        <a:pt x="2" y="317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5" name="Google Shape;265;p4"/>
                <p:cNvSpPr/>
                <p:nvPr/>
              </p:nvSpPr>
              <p:spPr>
                <a:xfrm>
                  <a:off x="3959432" y="4933740"/>
                  <a:ext cx="3045" cy="29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45" h="2957" extrusionOk="0">
                      <a:moveTo>
                        <a:pt x="97" y="2958"/>
                      </a:moveTo>
                      <a:cubicBezTo>
                        <a:pt x="-300" y="557"/>
                        <a:pt x="494" y="-559"/>
                        <a:pt x="3046" y="273"/>
                      </a:cubicBezTo>
                      <a:cubicBezTo>
                        <a:pt x="2063" y="1162"/>
                        <a:pt x="1080" y="2069"/>
                        <a:pt x="97" y="2958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6" name="Google Shape;266;p4"/>
                <p:cNvSpPr/>
                <p:nvPr/>
              </p:nvSpPr>
              <p:spPr>
                <a:xfrm>
                  <a:off x="3936570" y="4952521"/>
                  <a:ext cx="3203" cy="30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03" h="3080" extrusionOk="0">
                      <a:moveTo>
                        <a:pt x="47" y="3080"/>
                      </a:moveTo>
                      <a:cubicBezTo>
                        <a:pt x="-218" y="661"/>
                        <a:pt x="614" y="-530"/>
                        <a:pt x="3204" y="226"/>
                      </a:cubicBezTo>
                      <a:cubicBezTo>
                        <a:pt x="2145" y="1171"/>
                        <a:pt x="1087" y="2135"/>
                        <a:pt x="47" y="308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7" name="Google Shape;267;p4"/>
                <p:cNvSpPr/>
                <p:nvPr/>
              </p:nvSpPr>
              <p:spPr>
                <a:xfrm>
                  <a:off x="3887600" y="4990196"/>
                  <a:ext cx="3231" cy="31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31" h="3176" extrusionOk="0">
                      <a:moveTo>
                        <a:pt x="93" y="3177"/>
                      </a:moveTo>
                      <a:cubicBezTo>
                        <a:pt x="-361" y="625"/>
                        <a:pt x="868" y="-245"/>
                        <a:pt x="3231" y="58"/>
                      </a:cubicBezTo>
                      <a:cubicBezTo>
                        <a:pt x="2192" y="1097"/>
                        <a:pt x="1133" y="2137"/>
                        <a:pt x="93" y="3177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8" name="Google Shape;268;p4"/>
                <p:cNvSpPr/>
                <p:nvPr/>
              </p:nvSpPr>
              <p:spPr>
                <a:xfrm>
                  <a:off x="3835040" y="5028649"/>
                  <a:ext cx="2500" cy="24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0" h="2493" extrusionOk="0">
                      <a:moveTo>
                        <a:pt x="156" y="2494"/>
                      </a:moveTo>
                      <a:cubicBezTo>
                        <a:pt x="-278" y="339"/>
                        <a:pt x="100" y="-796"/>
                        <a:pt x="2500" y="641"/>
                      </a:cubicBezTo>
                      <a:cubicBezTo>
                        <a:pt x="1971" y="1567"/>
                        <a:pt x="1196" y="2191"/>
                        <a:pt x="156" y="24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69" name="Google Shape;269;p4"/>
                <p:cNvSpPr/>
                <p:nvPr/>
              </p:nvSpPr>
              <p:spPr>
                <a:xfrm>
                  <a:off x="3731356" y="5096320"/>
                  <a:ext cx="4215" cy="29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15" h="2991" extrusionOk="0">
                      <a:moveTo>
                        <a:pt x="0" y="2991"/>
                      </a:moveTo>
                      <a:cubicBezTo>
                        <a:pt x="775" y="1101"/>
                        <a:pt x="1607" y="-695"/>
                        <a:pt x="4216" y="269"/>
                      </a:cubicBezTo>
                      <a:cubicBezTo>
                        <a:pt x="2817" y="1176"/>
                        <a:pt x="1399" y="2084"/>
                        <a:pt x="0" y="299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0" name="Google Shape;270;p4"/>
                <p:cNvSpPr/>
                <p:nvPr/>
              </p:nvSpPr>
              <p:spPr>
                <a:xfrm>
                  <a:off x="3712509" y="5107724"/>
                  <a:ext cx="4120" cy="29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0" h="2910" extrusionOk="0">
                      <a:moveTo>
                        <a:pt x="0" y="2911"/>
                      </a:moveTo>
                      <a:cubicBezTo>
                        <a:pt x="756" y="1077"/>
                        <a:pt x="1531" y="-757"/>
                        <a:pt x="4121" y="321"/>
                      </a:cubicBezTo>
                      <a:cubicBezTo>
                        <a:pt x="2741" y="1190"/>
                        <a:pt x="1361" y="2060"/>
                        <a:pt x="0" y="291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1" name="Google Shape;271;p4"/>
                <p:cNvSpPr/>
                <p:nvPr/>
              </p:nvSpPr>
              <p:spPr>
                <a:xfrm>
                  <a:off x="3694285" y="5118953"/>
                  <a:ext cx="3478" cy="30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8" h="3043" extrusionOk="0">
                      <a:moveTo>
                        <a:pt x="0" y="3043"/>
                      </a:moveTo>
                      <a:cubicBezTo>
                        <a:pt x="114" y="813"/>
                        <a:pt x="851" y="-643"/>
                        <a:pt x="3478" y="283"/>
                      </a:cubicBezTo>
                      <a:cubicBezTo>
                        <a:pt x="2325" y="1210"/>
                        <a:pt x="1153" y="2117"/>
                        <a:pt x="0" y="304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2" name="Google Shape;272;p4"/>
                <p:cNvSpPr/>
                <p:nvPr/>
              </p:nvSpPr>
              <p:spPr>
                <a:xfrm>
                  <a:off x="3667801" y="5134079"/>
                  <a:ext cx="3478" cy="30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78" h="3021" extrusionOk="0">
                      <a:moveTo>
                        <a:pt x="0" y="3021"/>
                      </a:moveTo>
                      <a:cubicBezTo>
                        <a:pt x="151" y="809"/>
                        <a:pt x="851" y="-684"/>
                        <a:pt x="3478" y="318"/>
                      </a:cubicBezTo>
                      <a:cubicBezTo>
                        <a:pt x="2325" y="1225"/>
                        <a:pt x="1153" y="2114"/>
                        <a:pt x="0" y="302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3" name="Google Shape;273;p4"/>
                <p:cNvSpPr/>
                <p:nvPr/>
              </p:nvSpPr>
              <p:spPr>
                <a:xfrm>
                  <a:off x="3626155" y="5156758"/>
                  <a:ext cx="3535" cy="30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35" h="3008" extrusionOk="0">
                      <a:moveTo>
                        <a:pt x="0" y="3009"/>
                      </a:moveTo>
                      <a:cubicBezTo>
                        <a:pt x="208" y="816"/>
                        <a:pt x="889" y="-715"/>
                        <a:pt x="3535" y="343"/>
                      </a:cubicBezTo>
                      <a:cubicBezTo>
                        <a:pt x="2363" y="1232"/>
                        <a:pt x="1172" y="2120"/>
                        <a:pt x="0" y="300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74" name="Google Shape;274;p4"/>
              <p:cNvSpPr/>
              <p:nvPr/>
            </p:nvSpPr>
            <p:spPr>
              <a:xfrm>
                <a:off x="1758382" y="5442342"/>
                <a:ext cx="1909419" cy="384129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275" name="Google Shape;275;p4"/>
            <p:cNvSpPr/>
            <p:nvPr/>
          </p:nvSpPr>
          <p:spPr>
            <a:xfrm>
              <a:off x="1550539" y="2208144"/>
              <a:ext cx="1858208" cy="459315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276" name="Google Shape;276;p4"/>
            <p:cNvSpPr txBox="1"/>
            <p:nvPr/>
          </p:nvSpPr>
          <p:spPr>
            <a:xfrm>
              <a:off x="1670240" y="2283912"/>
              <a:ext cx="1606530" cy="3077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484848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Банк «Открытие»</a:t>
              </a:r>
              <a:endParaRPr/>
            </a:p>
          </p:txBody>
        </p:sp>
      </p:grpSp>
      <p:grpSp>
        <p:nvGrpSpPr>
          <p:cNvPr id="277" name="Google Shape;277;p4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278" name="Google Shape;278;p4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4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4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1" name="Google Shape;281;p4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82" name="Google Shape;282;p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283" name="Google Shape;283;p4"/>
          <p:cNvSpPr txBox="1"/>
          <p:nvPr/>
        </p:nvSpPr>
        <p:spPr>
          <a:xfrm>
            <a:off x="630183" y="376044"/>
            <a:ext cx="5549917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Поглощение банков</a:t>
            </a:r>
            <a:endParaRPr/>
          </a:p>
        </p:txBody>
      </p:sp>
      <p:grpSp>
        <p:nvGrpSpPr>
          <p:cNvPr id="284" name="Google Shape;284;p4"/>
          <p:cNvGrpSpPr/>
          <p:nvPr/>
        </p:nvGrpSpPr>
        <p:grpSpPr>
          <a:xfrm>
            <a:off x="6200366" y="1079918"/>
            <a:ext cx="1080352" cy="1787738"/>
            <a:chOff x="5100260" y="3454607"/>
            <a:chExt cx="1145867" cy="1896145"/>
          </a:xfrm>
        </p:grpSpPr>
        <p:grpSp>
          <p:nvGrpSpPr>
            <p:cNvPr id="285" name="Google Shape;285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286" name="Google Shape;286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287" name="Google Shape;287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8" name="Google Shape;288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9" name="Google Shape;289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0" name="Google Shape;290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1" name="Google Shape;291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2" name="Google Shape;292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3" name="Google Shape;293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294" name="Google Shape;294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95" name="Google Shape;295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296" name="Google Shape;296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297" name="Google Shape;297;p4"/>
              <p:cNvPicPr preferRelativeResize="0"/>
              <p:nvPr/>
            </p:nvPicPr>
            <p:blipFill rotWithShape="1">
              <a:blip r:embed="rId6">
                <a:alphaModFix/>
              </a:blip>
              <a:srcRect/>
              <a:stretch/>
            </p:blipFill>
            <p:spPr>
              <a:xfrm>
                <a:off x="5518202" y="4234522"/>
                <a:ext cx="310132" cy="35597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298" name="Google Shape;298;p4"/>
          <p:cNvGrpSpPr/>
          <p:nvPr/>
        </p:nvGrpSpPr>
        <p:grpSpPr>
          <a:xfrm>
            <a:off x="8318686" y="3962032"/>
            <a:ext cx="1080352" cy="1787738"/>
            <a:chOff x="5100260" y="3454607"/>
            <a:chExt cx="1145867" cy="1896145"/>
          </a:xfrm>
        </p:grpSpPr>
        <p:grpSp>
          <p:nvGrpSpPr>
            <p:cNvPr id="299" name="Google Shape;299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00" name="Google Shape;300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01" name="Google Shape;301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2" name="Google Shape;302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3" name="Google Shape;303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4" name="Google Shape;304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5" name="Google Shape;305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6" name="Google Shape;306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7" name="Google Shape;307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08" name="Google Shape;308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09" name="Google Shape;309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10" name="Google Shape;310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11" name="Google Shape;311;p4"/>
              <p:cNvPicPr preferRelativeResize="0"/>
              <p:nvPr/>
            </p:nvPicPr>
            <p:blipFill rotWithShape="1">
              <a:blip r:embed="rId7">
                <a:alphaModFix/>
              </a:blip>
              <a:srcRect/>
              <a:stretch/>
            </p:blipFill>
            <p:spPr>
              <a:xfrm>
                <a:off x="5438215" y="4395621"/>
                <a:ext cx="478809" cy="8645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12" name="Google Shape;312;p4"/>
          <p:cNvGrpSpPr/>
          <p:nvPr/>
        </p:nvGrpSpPr>
        <p:grpSpPr>
          <a:xfrm>
            <a:off x="10834823" y="3525906"/>
            <a:ext cx="1080352" cy="1787738"/>
            <a:chOff x="5100260" y="3454607"/>
            <a:chExt cx="1145867" cy="1896145"/>
          </a:xfrm>
        </p:grpSpPr>
        <p:grpSp>
          <p:nvGrpSpPr>
            <p:cNvPr id="313" name="Google Shape;313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14" name="Google Shape;314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15" name="Google Shape;315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16" name="Google Shape;316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17" name="Google Shape;317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18" name="Google Shape;318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19" name="Google Shape;319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0" name="Google Shape;320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1" name="Google Shape;321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22" name="Google Shape;322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23" name="Google Shape;323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24" name="Google Shape;324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25" name="Google Shape;325;p4"/>
              <p:cNvPicPr preferRelativeResize="0"/>
              <p:nvPr/>
            </p:nvPicPr>
            <p:blipFill rotWithShape="1">
              <a:blip r:embed="rId8">
                <a:alphaModFix/>
              </a:blip>
              <a:srcRect/>
              <a:stretch/>
            </p:blipFill>
            <p:spPr>
              <a:xfrm>
                <a:off x="5448522" y="4395621"/>
                <a:ext cx="458195" cy="8645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26" name="Google Shape;326;p4"/>
          <p:cNvGrpSpPr/>
          <p:nvPr/>
        </p:nvGrpSpPr>
        <p:grpSpPr>
          <a:xfrm>
            <a:off x="9669701" y="2416258"/>
            <a:ext cx="1080352" cy="1787738"/>
            <a:chOff x="5100260" y="3454607"/>
            <a:chExt cx="1145867" cy="1896145"/>
          </a:xfrm>
        </p:grpSpPr>
        <p:grpSp>
          <p:nvGrpSpPr>
            <p:cNvPr id="327" name="Google Shape;327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28" name="Google Shape;328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29" name="Google Shape;329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0" name="Google Shape;330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1" name="Google Shape;331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2" name="Google Shape;332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3" name="Google Shape;333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4" name="Google Shape;334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5" name="Google Shape;335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36" name="Google Shape;336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37" name="Google Shape;337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38" name="Google Shape;338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39" name="Google Shape;339;p4"/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5504442" y="4292526"/>
                <a:ext cx="334838" cy="25405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40" name="Google Shape;340;p4"/>
          <p:cNvGrpSpPr/>
          <p:nvPr/>
        </p:nvGrpSpPr>
        <p:grpSpPr>
          <a:xfrm>
            <a:off x="8909821" y="688571"/>
            <a:ext cx="1080352" cy="1787738"/>
            <a:chOff x="5100260" y="3454607"/>
            <a:chExt cx="1145867" cy="1896145"/>
          </a:xfrm>
        </p:grpSpPr>
        <p:grpSp>
          <p:nvGrpSpPr>
            <p:cNvPr id="341" name="Google Shape;341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42" name="Google Shape;342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43" name="Google Shape;343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4" name="Google Shape;344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5" name="Google Shape;345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6" name="Google Shape;346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7" name="Google Shape;347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8" name="Google Shape;348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49" name="Google Shape;349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50" name="Google Shape;350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51" name="Google Shape;351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52" name="Google Shape;352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53" name="Google Shape;353;p4"/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5541874" y="4268162"/>
                <a:ext cx="238546" cy="3248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54" name="Google Shape;354;p4"/>
          <p:cNvGrpSpPr/>
          <p:nvPr/>
        </p:nvGrpSpPr>
        <p:grpSpPr>
          <a:xfrm>
            <a:off x="7460055" y="754315"/>
            <a:ext cx="1080352" cy="1787738"/>
            <a:chOff x="5100260" y="3454607"/>
            <a:chExt cx="1145867" cy="1896145"/>
          </a:xfrm>
        </p:grpSpPr>
        <p:grpSp>
          <p:nvGrpSpPr>
            <p:cNvPr id="355" name="Google Shape;355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56" name="Google Shape;356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57" name="Google Shape;357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58" name="Google Shape;358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59" name="Google Shape;359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0" name="Google Shape;360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1" name="Google Shape;361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2" name="Google Shape;362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3" name="Google Shape;363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64" name="Google Shape;364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65" name="Google Shape;365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66" name="Google Shape;366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67" name="Google Shape;367;p4"/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>
                <a:off x="5494810" y="4268046"/>
                <a:ext cx="354102" cy="30301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68" name="Google Shape;368;p4"/>
          <p:cNvGrpSpPr/>
          <p:nvPr/>
        </p:nvGrpSpPr>
        <p:grpSpPr>
          <a:xfrm>
            <a:off x="7402674" y="2462348"/>
            <a:ext cx="1080352" cy="1787738"/>
            <a:chOff x="5100260" y="3454607"/>
            <a:chExt cx="1145867" cy="1896145"/>
          </a:xfrm>
        </p:grpSpPr>
        <p:grpSp>
          <p:nvGrpSpPr>
            <p:cNvPr id="369" name="Google Shape;369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70" name="Google Shape;370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71" name="Google Shape;371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2" name="Google Shape;372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3" name="Google Shape;373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4" name="Google Shape;374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5" name="Google Shape;375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6" name="Google Shape;376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7" name="Google Shape;377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78" name="Google Shape;378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79" name="Google Shape;379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80" name="Google Shape;380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81" name="Google Shape;381;p4"/>
              <p:cNvPicPr preferRelativeResize="0"/>
              <p:nvPr/>
            </p:nvPicPr>
            <p:blipFill rotWithShape="1">
              <a:blip r:embed="rId12">
                <a:alphaModFix/>
              </a:blip>
              <a:srcRect/>
              <a:stretch/>
            </p:blipFill>
            <p:spPr>
              <a:xfrm>
                <a:off x="5442528" y="4337098"/>
                <a:ext cx="458666" cy="16491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82" name="Google Shape;382;p4"/>
          <p:cNvGrpSpPr/>
          <p:nvPr/>
        </p:nvGrpSpPr>
        <p:grpSpPr>
          <a:xfrm>
            <a:off x="9613886" y="4017725"/>
            <a:ext cx="1080352" cy="1787738"/>
            <a:chOff x="5100260" y="3454607"/>
            <a:chExt cx="1145867" cy="1896145"/>
          </a:xfrm>
        </p:grpSpPr>
        <p:grpSp>
          <p:nvGrpSpPr>
            <p:cNvPr id="383" name="Google Shape;383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384" name="Google Shape;384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385" name="Google Shape;385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86" name="Google Shape;386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87" name="Google Shape;387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88" name="Google Shape;388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89" name="Google Shape;389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0" name="Google Shape;390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1" name="Google Shape;391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392" name="Google Shape;392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93" name="Google Shape;393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394" name="Google Shape;394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395" name="Google Shape;395;p4"/>
              <p:cNvPicPr preferRelativeResize="0"/>
              <p:nvPr/>
            </p:nvPicPr>
            <p:blipFill rotWithShape="1">
              <a:blip r:embed="rId13">
                <a:alphaModFix/>
              </a:blip>
              <a:srcRect/>
              <a:stretch/>
            </p:blipFill>
            <p:spPr>
              <a:xfrm>
                <a:off x="5416178" y="4388086"/>
                <a:ext cx="496170" cy="8961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96" name="Google Shape;396;p4"/>
          <p:cNvGrpSpPr/>
          <p:nvPr/>
        </p:nvGrpSpPr>
        <p:grpSpPr>
          <a:xfrm>
            <a:off x="5047786" y="1984842"/>
            <a:ext cx="1394359" cy="2106226"/>
            <a:chOff x="8136636" y="2063180"/>
            <a:chExt cx="1478915" cy="2233947"/>
          </a:xfrm>
        </p:grpSpPr>
        <p:grpSp>
          <p:nvGrpSpPr>
            <p:cNvPr id="397" name="Google Shape;397;p4"/>
            <p:cNvGrpSpPr/>
            <p:nvPr/>
          </p:nvGrpSpPr>
          <p:grpSpPr>
            <a:xfrm>
              <a:off x="8136636" y="2400982"/>
              <a:ext cx="1145867" cy="1896145"/>
              <a:chOff x="5100260" y="3454607"/>
              <a:chExt cx="1145867" cy="1896145"/>
            </a:xfrm>
          </p:grpSpPr>
          <p:grpSp>
            <p:nvGrpSpPr>
              <p:cNvPr id="398" name="Google Shape;398;p4"/>
              <p:cNvGrpSpPr/>
              <p:nvPr/>
            </p:nvGrpSpPr>
            <p:grpSpPr>
              <a:xfrm>
                <a:off x="5100260" y="3454607"/>
                <a:ext cx="1145867" cy="1896145"/>
                <a:chOff x="6148706" y="2525297"/>
                <a:chExt cx="1161190" cy="1921500"/>
              </a:xfrm>
            </p:grpSpPr>
            <p:grpSp>
              <p:nvGrpSpPr>
                <p:cNvPr id="399" name="Google Shape;399;p4"/>
                <p:cNvGrpSpPr/>
                <p:nvPr/>
              </p:nvGrpSpPr>
              <p:grpSpPr>
                <a:xfrm>
                  <a:off x="6148706" y="2525297"/>
                  <a:ext cx="1161190" cy="1565194"/>
                  <a:chOff x="6240394" y="2470650"/>
                  <a:chExt cx="1161190" cy="1565194"/>
                </a:xfrm>
              </p:grpSpPr>
              <p:sp>
                <p:nvSpPr>
                  <p:cNvPr id="400" name="Google Shape;400;p4"/>
                  <p:cNvSpPr/>
                  <p:nvPr/>
                </p:nvSpPr>
                <p:spPr>
                  <a:xfrm>
                    <a:off x="6240394" y="2470650"/>
                    <a:ext cx="1161190" cy="1565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61190" h="1565194" extrusionOk="0">
                        <a:moveTo>
                          <a:pt x="769477" y="1427771"/>
                        </a:moveTo>
                        <a:cubicBezTo>
                          <a:pt x="737245" y="1512449"/>
                          <a:pt x="675931" y="1563437"/>
                          <a:pt x="580840" y="1563904"/>
                        </a:cubicBezTo>
                        <a:cubicBezTo>
                          <a:pt x="485165" y="1564370"/>
                          <a:pt x="425018" y="1511778"/>
                          <a:pt x="389665" y="1423075"/>
                        </a:cubicBezTo>
                        <a:cubicBezTo>
                          <a:pt x="387069" y="1428850"/>
                          <a:pt x="385085" y="1432350"/>
                          <a:pt x="383831" y="1436113"/>
                        </a:cubicBezTo>
                        <a:cubicBezTo>
                          <a:pt x="358658" y="1511399"/>
                          <a:pt x="277888" y="1564545"/>
                          <a:pt x="201902" y="1565187"/>
                        </a:cubicBezTo>
                        <a:cubicBezTo>
                          <a:pt x="115241" y="1565916"/>
                          <a:pt x="38146" y="1510407"/>
                          <a:pt x="11806" y="1430834"/>
                        </a:cubicBezTo>
                        <a:cubicBezTo>
                          <a:pt x="4310" y="1408169"/>
                          <a:pt x="897" y="1383142"/>
                          <a:pt x="839" y="1359165"/>
                        </a:cubicBezTo>
                        <a:cubicBezTo>
                          <a:pt x="80" y="1099150"/>
                          <a:pt x="-590" y="839107"/>
                          <a:pt x="839" y="579092"/>
                        </a:cubicBezTo>
                        <a:cubicBezTo>
                          <a:pt x="1422" y="468104"/>
                          <a:pt x="30241" y="363678"/>
                          <a:pt x="90884" y="269753"/>
                        </a:cubicBezTo>
                        <a:cubicBezTo>
                          <a:pt x="168854" y="148876"/>
                          <a:pt x="276313" y="65685"/>
                          <a:pt x="414488" y="23973"/>
                        </a:cubicBezTo>
                        <a:cubicBezTo>
                          <a:pt x="499983" y="-1842"/>
                          <a:pt x="587286" y="-6159"/>
                          <a:pt x="675435" y="7901"/>
                        </a:cubicBezTo>
                        <a:cubicBezTo>
                          <a:pt x="776040" y="23944"/>
                          <a:pt x="866027" y="64693"/>
                          <a:pt x="944901" y="128516"/>
                        </a:cubicBezTo>
                        <a:cubicBezTo>
                          <a:pt x="1041801" y="206922"/>
                          <a:pt x="1106527" y="307002"/>
                          <a:pt x="1139635" y="427500"/>
                        </a:cubicBezTo>
                        <a:cubicBezTo>
                          <a:pt x="1155065" y="483709"/>
                          <a:pt x="1160753" y="541114"/>
                          <a:pt x="1160870" y="598986"/>
                        </a:cubicBezTo>
                        <a:cubicBezTo>
                          <a:pt x="1161336" y="849287"/>
                          <a:pt x="1160928" y="1099588"/>
                          <a:pt x="1161191" y="1349918"/>
                        </a:cubicBezTo>
                        <a:cubicBezTo>
                          <a:pt x="1161249" y="1414091"/>
                          <a:pt x="1142872" y="1470504"/>
                          <a:pt x="1094947" y="1515074"/>
                        </a:cubicBezTo>
                        <a:cubicBezTo>
                          <a:pt x="1065165" y="1542756"/>
                          <a:pt x="1028996" y="1558682"/>
                          <a:pt x="989267" y="1563378"/>
                        </a:cubicBezTo>
                        <a:cubicBezTo>
                          <a:pt x="923111" y="1571196"/>
                          <a:pt x="864248" y="1552411"/>
                          <a:pt x="819123" y="1502473"/>
                        </a:cubicBezTo>
                        <a:cubicBezTo>
                          <a:pt x="799405" y="1480626"/>
                          <a:pt x="786016" y="1453061"/>
                          <a:pt x="769535" y="1427771"/>
                        </a:cubicBezTo>
                        <a:close/>
                        <a:moveTo>
                          <a:pt x="881078" y="478779"/>
                        </a:moveTo>
                        <a:cubicBezTo>
                          <a:pt x="884462" y="412915"/>
                          <a:pt x="822273" y="343638"/>
                          <a:pt x="746988" y="344514"/>
                        </a:cubicBezTo>
                        <a:cubicBezTo>
                          <a:pt x="687803" y="345214"/>
                          <a:pt x="613217" y="398097"/>
                          <a:pt x="616718" y="481230"/>
                        </a:cubicBezTo>
                        <a:cubicBezTo>
                          <a:pt x="619810" y="554999"/>
                          <a:pt x="672898" y="608349"/>
                          <a:pt x="749000" y="609458"/>
                        </a:cubicBezTo>
                        <a:cubicBezTo>
                          <a:pt x="826707" y="610566"/>
                          <a:pt x="882333" y="545869"/>
                          <a:pt x="881078" y="478779"/>
                        </a:cubicBezTo>
                        <a:close/>
                        <a:moveTo>
                          <a:pt x="280338" y="479742"/>
                        </a:moveTo>
                        <a:cubicBezTo>
                          <a:pt x="281593" y="550244"/>
                          <a:pt x="335235" y="610508"/>
                          <a:pt x="416734" y="609312"/>
                        </a:cubicBezTo>
                        <a:cubicBezTo>
                          <a:pt x="486915" y="608291"/>
                          <a:pt x="545049" y="553628"/>
                          <a:pt x="544495" y="475250"/>
                        </a:cubicBezTo>
                        <a:cubicBezTo>
                          <a:pt x="543999" y="405127"/>
                          <a:pt x="488432" y="343084"/>
                          <a:pt x="407808" y="345535"/>
                        </a:cubicBezTo>
                        <a:cubicBezTo>
                          <a:pt x="334360" y="347781"/>
                          <a:pt x="281213" y="404719"/>
                          <a:pt x="280309" y="479742"/>
                        </a:cubicBezTo>
                        <a:close/>
                      </a:path>
                    </a:pathLst>
                  </a:custGeom>
                  <a:solidFill>
                    <a:schemeClr val="lt2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401" name="Google Shape;401;p4"/>
                  <p:cNvSpPr/>
                  <p:nvPr/>
                </p:nvSpPr>
                <p:spPr>
                  <a:xfrm>
                    <a:off x="6856993" y="2815154"/>
                    <a:ext cx="264609" cy="2649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609" h="264966" extrusionOk="0">
                        <a:moveTo>
                          <a:pt x="264479" y="134275"/>
                        </a:moveTo>
                        <a:cubicBezTo>
                          <a:pt x="265734" y="201335"/>
                          <a:pt x="210137" y="266061"/>
                          <a:pt x="132401" y="264953"/>
                        </a:cubicBezTo>
                        <a:cubicBezTo>
                          <a:pt x="56299" y="263874"/>
                          <a:pt x="3211" y="210523"/>
                          <a:pt x="119" y="136725"/>
                        </a:cubicBezTo>
                        <a:cubicBezTo>
                          <a:pt x="-3382" y="53593"/>
                          <a:pt x="71204" y="709"/>
                          <a:pt x="130389" y="9"/>
                        </a:cubicBezTo>
                        <a:cubicBezTo>
                          <a:pt x="205645" y="-895"/>
                          <a:pt x="267834" y="68411"/>
                          <a:pt x="264479" y="134275"/>
                        </a:cubicBezTo>
                        <a:close/>
                        <a:moveTo>
                          <a:pt x="132751" y="41108"/>
                        </a:moveTo>
                        <a:cubicBezTo>
                          <a:pt x="80888" y="40962"/>
                          <a:pt x="39964" y="80516"/>
                          <a:pt x="39760" y="130979"/>
                        </a:cubicBezTo>
                        <a:cubicBezTo>
                          <a:pt x="39556" y="183921"/>
                          <a:pt x="79751" y="225166"/>
                          <a:pt x="131672" y="225341"/>
                        </a:cubicBezTo>
                        <a:cubicBezTo>
                          <a:pt x="182660" y="225487"/>
                          <a:pt x="226005" y="182404"/>
                          <a:pt x="225801" y="131766"/>
                        </a:cubicBezTo>
                        <a:cubicBezTo>
                          <a:pt x="225568" y="81537"/>
                          <a:pt x="184206" y="41225"/>
                          <a:pt x="132751" y="4110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402" name="Google Shape;402;p4"/>
                  <p:cNvSpPr/>
                  <p:nvPr/>
                </p:nvSpPr>
                <p:spPr>
                  <a:xfrm>
                    <a:off x="6520703" y="2816114"/>
                    <a:ext cx="264189" cy="263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4189" h="263864" extrusionOk="0">
                        <a:moveTo>
                          <a:pt x="0" y="134278"/>
                        </a:moveTo>
                        <a:cubicBezTo>
                          <a:pt x="904" y="59225"/>
                          <a:pt x="54051" y="2316"/>
                          <a:pt x="127499" y="70"/>
                        </a:cubicBezTo>
                        <a:cubicBezTo>
                          <a:pt x="208122" y="-2380"/>
                          <a:pt x="263661" y="59663"/>
                          <a:pt x="264186" y="129786"/>
                        </a:cubicBezTo>
                        <a:cubicBezTo>
                          <a:pt x="264740" y="208163"/>
                          <a:pt x="206606" y="262827"/>
                          <a:pt x="136424" y="263847"/>
                        </a:cubicBezTo>
                        <a:cubicBezTo>
                          <a:pt x="54896" y="265043"/>
                          <a:pt x="1254" y="204809"/>
                          <a:pt x="29" y="134278"/>
                        </a:cubicBezTo>
                        <a:close/>
                        <a:moveTo>
                          <a:pt x="224661" y="131594"/>
                        </a:moveTo>
                        <a:cubicBezTo>
                          <a:pt x="224661" y="81073"/>
                          <a:pt x="183708" y="40032"/>
                          <a:pt x="133245" y="39507"/>
                        </a:cubicBezTo>
                        <a:cubicBezTo>
                          <a:pt x="76628" y="38894"/>
                          <a:pt x="40283" y="84428"/>
                          <a:pt x="38503" y="132265"/>
                        </a:cubicBezTo>
                        <a:cubicBezTo>
                          <a:pt x="36724" y="180540"/>
                          <a:pt x="82928" y="224382"/>
                          <a:pt x="132545" y="224411"/>
                        </a:cubicBezTo>
                        <a:cubicBezTo>
                          <a:pt x="183679" y="224411"/>
                          <a:pt x="224661" y="183136"/>
                          <a:pt x="224661" y="131594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403" name="Google Shape;403;p4"/>
                  <p:cNvSpPr/>
                  <p:nvPr/>
                </p:nvSpPr>
                <p:spPr>
                  <a:xfrm>
                    <a:off x="6877300" y="2856262"/>
                    <a:ext cx="186042" cy="184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042" h="184233" extrusionOk="0">
                        <a:moveTo>
                          <a:pt x="92992" y="0"/>
                        </a:moveTo>
                        <a:cubicBezTo>
                          <a:pt x="144447" y="146"/>
                          <a:pt x="185809" y="40429"/>
                          <a:pt x="186042" y="90658"/>
                        </a:cubicBezTo>
                        <a:cubicBezTo>
                          <a:pt x="186275" y="141296"/>
                          <a:pt x="142901" y="184379"/>
                          <a:pt x="91913" y="184233"/>
                        </a:cubicBezTo>
                        <a:cubicBezTo>
                          <a:pt x="39992" y="184058"/>
                          <a:pt x="-203" y="142813"/>
                          <a:pt x="1" y="89871"/>
                        </a:cubicBezTo>
                        <a:cubicBezTo>
                          <a:pt x="205" y="39408"/>
                          <a:pt x="41100" y="-145"/>
                          <a:pt x="92992" y="0"/>
                        </a:cubicBezTo>
                        <a:close/>
                        <a:moveTo>
                          <a:pt x="64698" y="84329"/>
                        </a:moveTo>
                        <a:cubicBezTo>
                          <a:pt x="74820" y="84066"/>
                          <a:pt x="84271" y="74353"/>
                          <a:pt x="83512" y="64114"/>
                        </a:cubicBezTo>
                        <a:cubicBezTo>
                          <a:pt x="82637" y="52505"/>
                          <a:pt x="75753" y="46934"/>
                          <a:pt x="64144" y="47021"/>
                        </a:cubicBezTo>
                        <a:cubicBezTo>
                          <a:pt x="51864" y="47138"/>
                          <a:pt x="43900" y="54430"/>
                          <a:pt x="44425" y="65339"/>
                        </a:cubicBezTo>
                        <a:cubicBezTo>
                          <a:pt x="44892" y="75520"/>
                          <a:pt x="54576" y="84591"/>
                          <a:pt x="64727" y="84329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404" name="Google Shape;404;p4"/>
                  <p:cNvSpPr/>
                  <p:nvPr/>
                </p:nvSpPr>
                <p:spPr>
                  <a:xfrm>
                    <a:off x="6541629" y="2855586"/>
                    <a:ext cx="186209" cy="1849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209" h="184909" extrusionOk="0">
                        <a:moveTo>
                          <a:pt x="186209" y="92093"/>
                        </a:moveTo>
                        <a:cubicBezTo>
                          <a:pt x="186209" y="143635"/>
                          <a:pt x="145227" y="184939"/>
                          <a:pt x="94093" y="184910"/>
                        </a:cubicBezTo>
                        <a:cubicBezTo>
                          <a:pt x="44476" y="184910"/>
                          <a:pt x="-1757" y="141010"/>
                          <a:pt x="51" y="92764"/>
                        </a:cubicBezTo>
                        <a:cubicBezTo>
                          <a:pt x="1831" y="44927"/>
                          <a:pt x="38176" y="-606"/>
                          <a:pt x="94793" y="6"/>
                        </a:cubicBezTo>
                        <a:cubicBezTo>
                          <a:pt x="145256" y="531"/>
                          <a:pt x="186180" y="41601"/>
                          <a:pt x="186209" y="92093"/>
                        </a:cubicBezTo>
                        <a:close/>
                        <a:moveTo>
                          <a:pt x="83767" y="66045"/>
                        </a:moveTo>
                        <a:cubicBezTo>
                          <a:pt x="83680" y="54523"/>
                          <a:pt x="74870" y="46298"/>
                          <a:pt x="62678" y="47202"/>
                        </a:cubicBezTo>
                        <a:cubicBezTo>
                          <a:pt x="51564" y="48048"/>
                          <a:pt x="46110" y="55544"/>
                          <a:pt x="46693" y="65841"/>
                        </a:cubicBezTo>
                        <a:cubicBezTo>
                          <a:pt x="47276" y="76225"/>
                          <a:pt x="52148" y="84655"/>
                          <a:pt x="64399" y="84947"/>
                        </a:cubicBezTo>
                        <a:cubicBezTo>
                          <a:pt x="75775" y="85209"/>
                          <a:pt x="83884" y="77100"/>
                          <a:pt x="83796" y="66045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405" name="Google Shape;405;p4"/>
                  <p:cNvSpPr/>
                  <p:nvPr/>
                </p:nvSpPr>
                <p:spPr>
                  <a:xfrm>
                    <a:off x="6921671" y="2903282"/>
                    <a:ext cx="39157" cy="3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157" h="37314" extrusionOk="0">
                        <a:moveTo>
                          <a:pt x="20326" y="37309"/>
                        </a:moveTo>
                        <a:cubicBezTo>
                          <a:pt x="10205" y="37572"/>
                          <a:pt x="520" y="28500"/>
                          <a:pt x="25" y="18320"/>
                        </a:cubicBezTo>
                        <a:cubicBezTo>
                          <a:pt x="-501" y="7411"/>
                          <a:pt x="7434" y="118"/>
                          <a:pt x="19743" y="2"/>
                        </a:cubicBezTo>
                        <a:cubicBezTo>
                          <a:pt x="31381" y="-115"/>
                          <a:pt x="38236" y="5486"/>
                          <a:pt x="39111" y="17095"/>
                        </a:cubicBezTo>
                        <a:cubicBezTo>
                          <a:pt x="39899" y="27333"/>
                          <a:pt x="30448" y="37047"/>
                          <a:pt x="20297" y="3730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  <p:sp>
                <p:nvSpPr>
                  <p:cNvPr id="406" name="Google Shape;406;p4"/>
                  <p:cNvSpPr/>
                  <p:nvPr/>
                </p:nvSpPr>
                <p:spPr>
                  <a:xfrm>
                    <a:off x="6588254" y="2902716"/>
                    <a:ext cx="37142" cy="378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142" h="37823" extrusionOk="0">
                        <a:moveTo>
                          <a:pt x="37142" y="18915"/>
                        </a:moveTo>
                        <a:cubicBezTo>
                          <a:pt x="37229" y="29970"/>
                          <a:pt x="29120" y="38079"/>
                          <a:pt x="17744" y="37817"/>
                        </a:cubicBezTo>
                        <a:cubicBezTo>
                          <a:pt x="5493" y="37525"/>
                          <a:pt x="622" y="29095"/>
                          <a:pt x="39" y="18711"/>
                        </a:cubicBezTo>
                        <a:cubicBezTo>
                          <a:pt x="-516" y="8414"/>
                          <a:pt x="4910" y="918"/>
                          <a:pt x="16023" y="72"/>
                        </a:cubicBezTo>
                        <a:cubicBezTo>
                          <a:pt x="28245" y="-861"/>
                          <a:pt x="37025" y="7393"/>
                          <a:pt x="37113" y="1891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45700" rIns="91425" bIns="45700" anchor="ctr" anchorCtr="0">
                    <a:noAutofit/>
                  </a:bodyPr>
                  <a:lstStyle/>
                  <a:p>
                    <a:pPr marL="0" marR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sz="1800">
                      <a:solidFill>
                        <a:schemeClr val="dk1"/>
                      </a:solidFill>
                      <a:latin typeface="Calibri"/>
                      <a:ea typeface="Calibri"/>
                      <a:cs typeface="Calibri"/>
                      <a:sym typeface="Calibri"/>
                    </a:endParaRPr>
                  </a:p>
                </p:txBody>
              </p:sp>
            </p:grpSp>
            <p:sp>
              <p:nvSpPr>
                <p:cNvPr id="407" name="Google Shape;407;p4"/>
                <p:cNvSpPr/>
                <p:nvPr/>
              </p:nvSpPr>
              <p:spPr>
                <a:xfrm>
                  <a:off x="6339953" y="4150632"/>
                  <a:ext cx="778696" cy="296165"/>
                </a:xfrm>
                <a:prstGeom prst="ellipse">
                  <a:avLst/>
                </a:prstGeom>
                <a:solidFill>
                  <a:srgbClr val="A5A5A5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lt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408" name="Google Shape;408;p4"/>
              <p:cNvGrpSpPr/>
              <p:nvPr/>
            </p:nvGrpSpPr>
            <p:grpSpPr>
              <a:xfrm>
                <a:off x="5327392" y="4155741"/>
                <a:ext cx="674012" cy="552459"/>
                <a:chOff x="5327392" y="4155741"/>
                <a:chExt cx="674012" cy="552459"/>
              </a:xfrm>
            </p:grpSpPr>
            <p:sp>
              <p:nvSpPr>
                <p:cNvPr id="409" name="Google Shape;409;p4"/>
                <p:cNvSpPr/>
                <p:nvPr/>
              </p:nvSpPr>
              <p:spPr>
                <a:xfrm>
                  <a:off x="5389557" y="4155741"/>
                  <a:ext cx="552459" cy="552459"/>
                </a:xfrm>
                <a:prstGeom prst="ellipse">
                  <a:avLst/>
                </a:pr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marL="0" marR="0" lvl="0" indent="0" algn="ctr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200">
                    <a:solidFill>
                      <a:srgbClr val="FFFFFF"/>
                    </a:solidFill>
                    <a:latin typeface="Roboto"/>
                    <a:ea typeface="Roboto"/>
                    <a:cs typeface="Roboto"/>
                    <a:sym typeface="Roboto"/>
                  </a:endParaRPr>
                </a:p>
              </p:txBody>
            </p:sp>
            <p:pic>
              <p:nvPicPr>
                <p:cNvPr id="410" name="Google Shape;410;p4"/>
                <p:cNvPicPr preferRelativeResize="0"/>
                <p:nvPr/>
              </p:nvPicPr>
              <p:blipFill rotWithShape="1">
                <a:blip r:embed="rId14">
                  <a:alphaModFix/>
                </a:blip>
                <a:srcRect/>
                <a:stretch/>
              </p:blipFill>
              <p:spPr>
                <a:xfrm>
                  <a:off x="5327392" y="4354425"/>
                  <a:ext cx="674012" cy="16715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grpSp>
          <p:nvGrpSpPr>
            <p:cNvPr id="411" name="Google Shape;411;p4"/>
            <p:cNvGrpSpPr/>
            <p:nvPr/>
          </p:nvGrpSpPr>
          <p:grpSpPr>
            <a:xfrm>
              <a:off x="8895130" y="2063180"/>
              <a:ext cx="720421" cy="668403"/>
              <a:chOff x="5464170" y="3541194"/>
              <a:chExt cx="720421" cy="668403"/>
            </a:xfrm>
          </p:grpSpPr>
          <p:sp>
            <p:nvSpPr>
              <p:cNvPr id="412" name="Google Shape;412;p4"/>
              <p:cNvSpPr/>
              <p:nvPr/>
            </p:nvSpPr>
            <p:spPr>
              <a:xfrm>
                <a:off x="5464170" y="3541194"/>
                <a:ext cx="668403" cy="668403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  <a:effectLst>
                <a:outerShdw blurRad="1003300" sx="102000" sy="102000" algn="ctr" rotWithShape="0">
                  <a:schemeClr val="dk1">
                    <a:alpha val="20000"/>
                  </a:schemeClr>
                </a:outerShdw>
              </a:effectLst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sp>
            <p:nvSpPr>
              <p:cNvPr id="413" name="Google Shape;413;p4"/>
              <p:cNvSpPr txBox="1"/>
              <p:nvPr/>
            </p:nvSpPr>
            <p:spPr>
              <a:xfrm>
                <a:off x="5516191" y="3722902"/>
                <a:ext cx="668400" cy="3141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45700" tIns="45700" rIns="45700" bIns="45700" anchor="t" anchorCtr="0">
                <a:noAutofit/>
              </a:bodyPr>
              <a:lstStyle/>
              <a:p>
                <a:pPr marL="0" marR="0" lvl="0" indent="0" algn="l" rtl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1100" b="1">
                    <a:solidFill>
                      <a:srgbClr val="00BEF0"/>
                    </a:solidFill>
                    <a:latin typeface="Roboto"/>
                    <a:ea typeface="Roboto"/>
                    <a:cs typeface="Roboto"/>
                    <a:sym typeface="Roboto"/>
                  </a:rPr>
                  <a:t>2022 г.</a:t>
                </a:r>
                <a:endParaRPr sz="1100">
                  <a:solidFill>
                    <a:srgbClr val="00BEF0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</p:grpSp>
      </p:grpSp>
      <p:grpSp>
        <p:nvGrpSpPr>
          <p:cNvPr id="414" name="Google Shape;414;p4"/>
          <p:cNvGrpSpPr/>
          <p:nvPr/>
        </p:nvGrpSpPr>
        <p:grpSpPr>
          <a:xfrm>
            <a:off x="6200512" y="3115075"/>
            <a:ext cx="1080352" cy="1787738"/>
            <a:chOff x="5100260" y="3454607"/>
            <a:chExt cx="1145867" cy="1896145"/>
          </a:xfrm>
        </p:grpSpPr>
        <p:grpSp>
          <p:nvGrpSpPr>
            <p:cNvPr id="415" name="Google Shape;415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416" name="Google Shape;416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417" name="Google Shape;417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18" name="Google Shape;418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19" name="Google Shape;419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20" name="Google Shape;420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21" name="Google Shape;421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22" name="Google Shape;422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23" name="Google Shape;423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424" name="Google Shape;424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25" name="Google Shape;425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426" name="Google Shape;426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427" name="Google Shape;427;p4"/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5541874" y="4268162"/>
                <a:ext cx="238546" cy="3248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428" name="Google Shape;428;p4"/>
          <p:cNvGrpSpPr/>
          <p:nvPr/>
        </p:nvGrpSpPr>
        <p:grpSpPr>
          <a:xfrm>
            <a:off x="8513264" y="1936238"/>
            <a:ext cx="1080352" cy="1787738"/>
            <a:chOff x="5100260" y="3454607"/>
            <a:chExt cx="1145867" cy="1896145"/>
          </a:xfrm>
        </p:grpSpPr>
        <p:grpSp>
          <p:nvGrpSpPr>
            <p:cNvPr id="429" name="Google Shape;429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430" name="Google Shape;430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431" name="Google Shape;431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2" name="Google Shape;432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3" name="Google Shape;433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4" name="Google Shape;434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5" name="Google Shape;435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6" name="Google Shape;436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37" name="Google Shape;437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438" name="Google Shape;438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39" name="Google Shape;439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440" name="Google Shape;440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441" name="Google Shape;441;p4"/>
              <p:cNvPicPr preferRelativeResize="0"/>
              <p:nvPr/>
            </p:nvPicPr>
            <p:blipFill rotWithShape="1">
              <a:blip r:embed="rId15">
                <a:alphaModFix/>
              </a:blip>
              <a:srcRect/>
              <a:stretch/>
            </p:blipFill>
            <p:spPr>
              <a:xfrm>
                <a:off x="5454268" y="4201962"/>
                <a:ext cx="435186" cy="43518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442" name="Google Shape;442;p4"/>
          <p:cNvGrpSpPr/>
          <p:nvPr/>
        </p:nvGrpSpPr>
        <p:grpSpPr>
          <a:xfrm>
            <a:off x="7013386" y="4079526"/>
            <a:ext cx="1080352" cy="1787738"/>
            <a:chOff x="5100260" y="3454607"/>
            <a:chExt cx="1145867" cy="1896145"/>
          </a:xfrm>
        </p:grpSpPr>
        <p:grpSp>
          <p:nvGrpSpPr>
            <p:cNvPr id="443" name="Google Shape;443;p4"/>
            <p:cNvGrpSpPr/>
            <p:nvPr/>
          </p:nvGrpSpPr>
          <p:grpSpPr>
            <a:xfrm>
              <a:off x="5100260" y="3454607"/>
              <a:ext cx="1145867" cy="1896145"/>
              <a:chOff x="6148706" y="2525297"/>
              <a:chExt cx="1161190" cy="1921500"/>
            </a:xfrm>
          </p:grpSpPr>
          <p:grpSp>
            <p:nvGrpSpPr>
              <p:cNvPr id="444" name="Google Shape;444;p4"/>
              <p:cNvGrpSpPr/>
              <p:nvPr/>
            </p:nvGrpSpPr>
            <p:grpSpPr>
              <a:xfrm>
                <a:off x="6148706" y="2525297"/>
                <a:ext cx="1161190" cy="1565194"/>
                <a:chOff x="6240394" y="2470650"/>
                <a:chExt cx="1161190" cy="1565194"/>
              </a:xfrm>
            </p:grpSpPr>
            <p:sp>
              <p:nvSpPr>
                <p:cNvPr id="445" name="Google Shape;445;p4"/>
                <p:cNvSpPr/>
                <p:nvPr/>
              </p:nvSpPr>
              <p:spPr>
                <a:xfrm>
                  <a:off x="6240394" y="2470650"/>
                  <a:ext cx="1161190" cy="15651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1190" h="1565194" extrusionOk="0">
                      <a:moveTo>
                        <a:pt x="769477" y="1427771"/>
                      </a:moveTo>
                      <a:cubicBezTo>
                        <a:pt x="737245" y="1512449"/>
                        <a:pt x="675931" y="1563437"/>
                        <a:pt x="580840" y="1563904"/>
                      </a:cubicBezTo>
                      <a:cubicBezTo>
                        <a:pt x="485165" y="1564370"/>
                        <a:pt x="425018" y="1511778"/>
                        <a:pt x="389665" y="1423075"/>
                      </a:cubicBezTo>
                      <a:cubicBezTo>
                        <a:pt x="387069" y="1428850"/>
                        <a:pt x="385085" y="1432350"/>
                        <a:pt x="383831" y="1436113"/>
                      </a:cubicBezTo>
                      <a:cubicBezTo>
                        <a:pt x="358658" y="1511399"/>
                        <a:pt x="277888" y="1564545"/>
                        <a:pt x="201902" y="1565187"/>
                      </a:cubicBezTo>
                      <a:cubicBezTo>
                        <a:pt x="115241" y="1565916"/>
                        <a:pt x="38146" y="1510407"/>
                        <a:pt x="11806" y="1430834"/>
                      </a:cubicBezTo>
                      <a:cubicBezTo>
                        <a:pt x="4310" y="1408169"/>
                        <a:pt x="897" y="1383142"/>
                        <a:pt x="839" y="1359165"/>
                      </a:cubicBezTo>
                      <a:cubicBezTo>
                        <a:pt x="80" y="1099150"/>
                        <a:pt x="-590" y="839107"/>
                        <a:pt x="839" y="579092"/>
                      </a:cubicBezTo>
                      <a:cubicBezTo>
                        <a:pt x="1422" y="468104"/>
                        <a:pt x="30241" y="363678"/>
                        <a:pt x="90884" y="269753"/>
                      </a:cubicBezTo>
                      <a:cubicBezTo>
                        <a:pt x="168854" y="148876"/>
                        <a:pt x="276313" y="65685"/>
                        <a:pt x="414488" y="23973"/>
                      </a:cubicBezTo>
                      <a:cubicBezTo>
                        <a:pt x="499983" y="-1842"/>
                        <a:pt x="587286" y="-6159"/>
                        <a:pt x="675435" y="7901"/>
                      </a:cubicBezTo>
                      <a:cubicBezTo>
                        <a:pt x="776040" y="23944"/>
                        <a:pt x="866027" y="64693"/>
                        <a:pt x="944901" y="128516"/>
                      </a:cubicBezTo>
                      <a:cubicBezTo>
                        <a:pt x="1041801" y="206922"/>
                        <a:pt x="1106527" y="307002"/>
                        <a:pt x="1139635" y="427500"/>
                      </a:cubicBezTo>
                      <a:cubicBezTo>
                        <a:pt x="1155065" y="483709"/>
                        <a:pt x="1160753" y="541114"/>
                        <a:pt x="1160870" y="598986"/>
                      </a:cubicBezTo>
                      <a:cubicBezTo>
                        <a:pt x="1161336" y="849287"/>
                        <a:pt x="1160928" y="1099588"/>
                        <a:pt x="1161191" y="1349918"/>
                      </a:cubicBezTo>
                      <a:cubicBezTo>
                        <a:pt x="1161249" y="1414091"/>
                        <a:pt x="1142872" y="1470504"/>
                        <a:pt x="1094947" y="1515074"/>
                      </a:cubicBezTo>
                      <a:cubicBezTo>
                        <a:pt x="1065165" y="1542756"/>
                        <a:pt x="1028996" y="1558682"/>
                        <a:pt x="989267" y="1563378"/>
                      </a:cubicBezTo>
                      <a:cubicBezTo>
                        <a:pt x="923111" y="1571196"/>
                        <a:pt x="864248" y="1552411"/>
                        <a:pt x="819123" y="1502473"/>
                      </a:cubicBezTo>
                      <a:cubicBezTo>
                        <a:pt x="799405" y="1480626"/>
                        <a:pt x="786016" y="1453061"/>
                        <a:pt x="769535" y="1427771"/>
                      </a:cubicBezTo>
                      <a:close/>
                      <a:moveTo>
                        <a:pt x="881078" y="478779"/>
                      </a:moveTo>
                      <a:cubicBezTo>
                        <a:pt x="884462" y="412915"/>
                        <a:pt x="822273" y="343638"/>
                        <a:pt x="746988" y="344514"/>
                      </a:cubicBezTo>
                      <a:cubicBezTo>
                        <a:pt x="687803" y="345214"/>
                        <a:pt x="613217" y="398097"/>
                        <a:pt x="616718" y="481230"/>
                      </a:cubicBezTo>
                      <a:cubicBezTo>
                        <a:pt x="619810" y="554999"/>
                        <a:pt x="672898" y="608349"/>
                        <a:pt x="749000" y="609458"/>
                      </a:cubicBezTo>
                      <a:cubicBezTo>
                        <a:pt x="826707" y="610566"/>
                        <a:pt x="882333" y="545869"/>
                        <a:pt x="881078" y="478779"/>
                      </a:cubicBezTo>
                      <a:close/>
                      <a:moveTo>
                        <a:pt x="280338" y="479742"/>
                      </a:moveTo>
                      <a:cubicBezTo>
                        <a:pt x="281593" y="550244"/>
                        <a:pt x="335235" y="610508"/>
                        <a:pt x="416734" y="609312"/>
                      </a:cubicBezTo>
                      <a:cubicBezTo>
                        <a:pt x="486915" y="608291"/>
                        <a:pt x="545049" y="553628"/>
                        <a:pt x="544495" y="475250"/>
                      </a:cubicBezTo>
                      <a:cubicBezTo>
                        <a:pt x="543999" y="405127"/>
                        <a:pt x="488432" y="343084"/>
                        <a:pt x="407808" y="345535"/>
                      </a:cubicBezTo>
                      <a:cubicBezTo>
                        <a:pt x="334360" y="347781"/>
                        <a:pt x="281213" y="404719"/>
                        <a:pt x="280309" y="47974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6" name="Google Shape;446;p4"/>
                <p:cNvSpPr/>
                <p:nvPr/>
              </p:nvSpPr>
              <p:spPr>
                <a:xfrm>
                  <a:off x="6856993" y="2815154"/>
                  <a:ext cx="264609" cy="264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609" h="264966" extrusionOk="0">
                      <a:moveTo>
                        <a:pt x="264479" y="134275"/>
                      </a:moveTo>
                      <a:cubicBezTo>
                        <a:pt x="265734" y="201335"/>
                        <a:pt x="210137" y="266061"/>
                        <a:pt x="132401" y="264953"/>
                      </a:cubicBezTo>
                      <a:cubicBezTo>
                        <a:pt x="56299" y="263874"/>
                        <a:pt x="3211" y="210523"/>
                        <a:pt x="119" y="136725"/>
                      </a:cubicBezTo>
                      <a:cubicBezTo>
                        <a:pt x="-3382" y="53593"/>
                        <a:pt x="71204" y="709"/>
                        <a:pt x="130389" y="9"/>
                      </a:cubicBezTo>
                      <a:cubicBezTo>
                        <a:pt x="205645" y="-895"/>
                        <a:pt x="267834" y="68411"/>
                        <a:pt x="264479" y="134275"/>
                      </a:cubicBezTo>
                      <a:close/>
                      <a:moveTo>
                        <a:pt x="132751" y="41108"/>
                      </a:moveTo>
                      <a:cubicBezTo>
                        <a:pt x="80888" y="40962"/>
                        <a:pt x="39964" y="80516"/>
                        <a:pt x="39760" y="130979"/>
                      </a:cubicBezTo>
                      <a:cubicBezTo>
                        <a:pt x="39556" y="183921"/>
                        <a:pt x="79751" y="225166"/>
                        <a:pt x="131672" y="225341"/>
                      </a:cubicBezTo>
                      <a:cubicBezTo>
                        <a:pt x="182660" y="225487"/>
                        <a:pt x="226005" y="182404"/>
                        <a:pt x="225801" y="131766"/>
                      </a:cubicBezTo>
                      <a:cubicBezTo>
                        <a:pt x="225568" y="81537"/>
                        <a:pt x="184206" y="41225"/>
                        <a:pt x="132751" y="411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7" name="Google Shape;447;p4"/>
                <p:cNvSpPr/>
                <p:nvPr/>
              </p:nvSpPr>
              <p:spPr>
                <a:xfrm>
                  <a:off x="6520703" y="2816114"/>
                  <a:ext cx="264189" cy="2638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4189" h="263864" extrusionOk="0">
                      <a:moveTo>
                        <a:pt x="0" y="134278"/>
                      </a:moveTo>
                      <a:cubicBezTo>
                        <a:pt x="904" y="59225"/>
                        <a:pt x="54051" y="2316"/>
                        <a:pt x="127499" y="70"/>
                      </a:cubicBezTo>
                      <a:cubicBezTo>
                        <a:pt x="208122" y="-2380"/>
                        <a:pt x="263661" y="59663"/>
                        <a:pt x="264186" y="129786"/>
                      </a:cubicBezTo>
                      <a:cubicBezTo>
                        <a:pt x="264740" y="208163"/>
                        <a:pt x="206606" y="262827"/>
                        <a:pt x="136424" y="263847"/>
                      </a:cubicBezTo>
                      <a:cubicBezTo>
                        <a:pt x="54896" y="265043"/>
                        <a:pt x="1254" y="204809"/>
                        <a:pt x="29" y="134278"/>
                      </a:cubicBezTo>
                      <a:close/>
                      <a:moveTo>
                        <a:pt x="224661" y="131594"/>
                      </a:moveTo>
                      <a:cubicBezTo>
                        <a:pt x="224661" y="81073"/>
                        <a:pt x="183708" y="40032"/>
                        <a:pt x="133245" y="39507"/>
                      </a:cubicBezTo>
                      <a:cubicBezTo>
                        <a:pt x="76628" y="38894"/>
                        <a:pt x="40283" y="84428"/>
                        <a:pt x="38503" y="132265"/>
                      </a:cubicBezTo>
                      <a:cubicBezTo>
                        <a:pt x="36724" y="180540"/>
                        <a:pt x="82928" y="224382"/>
                        <a:pt x="132545" y="224411"/>
                      </a:cubicBezTo>
                      <a:cubicBezTo>
                        <a:pt x="183679" y="224411"/>
                        <a:pt x="224661" y="183136"/>
                        <a:pt x="224661" y="131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8" name="Google Shape;448;p4"/>
                <p:cNvSpPr/>
                <p:nvPr/>
              </p:nvSpPr>
              <p:spPr>
                <a:xfrm>
                  <a:off x="6877300" y="2856262"/>
                  <a:ext cx="186042" cy="1842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042" h="184233" extrusionOk="0">
                      <a:moveTo>
                        <a:pt x="92992" y="0"/>
                      </a:moveTo>
                      <a:cubicBezTo>
                        <a:pt x="144447" y="146"/>
                        <a:pt x="185809" y="40429"/>
                        <a:pt x="186042" y="90658"/>
                      </a:cubicBezTo>
                      <a:cubicBezTo>
                        <a:pt x="186275" y="141296"/>
                        <a:pt x="142901" y="184379"/>
                        <a:pt x="91913" y="184233"/>
                      </a:cubicBezTo>
                      <a:cubicBezTo>
                        <a:pt x="39992" y="184058"/>
                        <a:pt x="-203" y="142813"/>
                        <a:pt x="1" y="89871"/>
                      </a:cubicBezTo>
                      <a:cubicBezTo>
                        <a:pt x="205" y="39408"/>
                        <a:pt x="41100" y="-145"/>
                        <a:pt x="92992" y="0"/>
                      </a:cubicBezTo>
                      <a:close/>
                      <a:moveTo>
                        <a:pt x="64698" y="84329"/>
                      </a:moveTo>
                      <a:cubicBezTo>
                        <a:pt x="74820" y="84066"/>
                        <a:pt x="84271" y="74353"/>
                        <a:pt x="83512" y="64114"/>
                      </a:cubicBezTo>
                      <a:cubicBezTo>
                        <a:pt x="82637" y="52505"/>
                        <a:pt x="75753" y="46934"/>
                        <a:pt x="64144" y="47021"/>
                      </a:cubicBezTo>
                      <a:cubicBezTo>
                        <a:pt x="51864" y="47138"/>
                        <a:pt x="43900" y="54430"/>
                        <a:pt x="44425" y="65339"/>
                      </a:cubicBezTo>
                      <a:cubicBezTo>
                        <a:pt x="44892" y="75520"/>
                        <a:pt x="54576" y="84591"/>
                        <a:pt x="64727" y="8432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49" name="Google Shape;449;p4"/>
                <p:cNvSpPr/>
                <p:nvPr/>
              </p:nvSpPr>
              <p:spPr>
                <a:xfrm>
                  <a:off x="6541629" y="2855586"/>
                  <a:ext cx="186209" cy="1849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209" h="184909" extrusionOk="0">
                      <a:moveTo>
                        <a:pt x="186209" y="92093"/>
                      </a:moveTo>
                      <a:cubicBezTo>
                        <a:pt x="186209" y="143635"/>
                        <a:pt x="145227" y="184939"/>
                        <a:pt x="94093" y="184910"/>
                      </a:cubicBezTo>
                      <a:cubicBezTo>
                        <a:pt x="44476" y="184910"/>
                        <a:pt x="-1757" y="141010"/>
                        <a:pt x="51" y="92764"/>
                      </a:cubicBezTo>
                      <a:cubicBezTo>
                        <a:pt x="1831" y="44927"/>
                        <a:pt x="38176" y="-606"/>
                        <a:pt x="94793" y="6"/>
                      </a:cubicBezTo>
                      <a:cubicBezTo>
                        <a:pt x="145256" y="531"/>
                        <a:pt x="186180" y="41601"/>
                        <a:pt x="186209" y="92093"/>
                      </a:cubicBezTo>
                      <a:close/>
                      <a:moveTo>
                        <a:pt x="83767" y="66045"/>
                      </a:moveTo>
                      <a:cubicBezTo>
                        <a:pt x="83680" y="54523"/>
                        <a:pt x="74870" y="46298"/>
                        <a:pt x="62678" y="47202"/>
                      </a:cubicBezTo>
                      <a:cubicBezTo>
                        <a:pt x="51564" y="48048"/>
                        <a:pt x="46110" y="55544"/>
                        <a:pt x="46693" y="65841"/>
                      </a:cubicBezTo>
                      <a:cubicBezTo>
                        <a:pt x="47276" y="76225"/>
                        <a:pt x="52148" y="84655"/>
                        <a:pt x="64399" y="84947"/>
                      </a:cubicBezTo>
                      <a:cubicBezTo>
                        <a:pt x="75775" y="85209"/>
                        <a:pt x="83884" y="77100"/>
                        <a:pt x="83796" y="6604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50" name="Google Shape;450;p4"/>
                <p:cNvSpPr/>
                <p:nvPr/>
              </p:nvSpPr>
              <p:spPr>
                <a:xfrm>
                  <a:off x="6921671" y="2903282"/>
                  <a:ext cx="39157" cy="3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157" h="37314" extrusionOk="0">
                      <a:moveTo>
                        <a:pt x="20326" y="37309"/>
                      </a:moveTo>
                      <a:cubicBezTo>
                        <a:pt x="10205" y="37572"/>
                        <a:pt x="520" y="28500"/>
                        <a:pt x="25" y="18320"/>
                      </a:cubicBezTo>
                      <a:cubicBezTo>
                        <a:pt x="-501" y="7411"/>
                        <a:pt x="7434" y="118"/>
                        <a:pt x="19743" y="2"/>
                      </a:cubicBezTo>
                      <a:cubicBezTo>
                        <a:pt x="31381" y="-115"/>
                        <a:pt x="38236" y="5486"/>
                        <a:pt x="39111" y="17095"/>
                      </a:cubicBezTo>
                      <a:cubicBezTo>
                        <a:pt x="39899" y="27333"/>
                        <a:pt x="30448" y="37047"/>
                        <a:pt x="20297" y="3730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51" name="Google Shape;451;p4"/>
                <p:cNvSpPr/>
                <p:nvPr/>
              </p:nvSpPr>
              <p:spPr>
                <a:xfrm>
                  <a:off x="6588254" y="2902716"/>
                  <a:ext cx="37142" cy="3782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142" h="37823" extrusionOk="0">
                      <a:moveTo>
                        <a:pt x="37142" y="18915"/>
                      </a:moveTo>
                      <a:cubicBezTo>
                        <a:pt x="37229" y="29970"/>
                        <a:pt x="29120" y="38079"/>
                        <a:pt x="17744" y="37817"/>
                      </a:cubicBezTo>
                      <a:cubicBezTo>
                        <a:pt x="5493" y="37525"/>
                        <a:pt x="622" y="29095"/>
                        <a:pt x="39" y="18711"/>
                      </a:cubicBezTo>
                      <a:cubicBezTo>
                        <a:pt x="-516" y="8414"/>
                        <a:pt x="4910" y="918"/>
                        <a:pt x="16023" y="72"/>
                      </a:cubicBezTo>
                      <a:cubicBezTo>
                        <a:pt x="28245" y="-861"/>
                        <a:pt x="37025" y="7393"/>
                        <a:pt x="37113" y="189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452" name="Google Shape;452;p4"/>
              <p:cNvSpPr/>
              <p:nvPr/>
            </p:nvSpPr>
            <p:spPr>
              <a:xfrm>
                <a:off x="6339953" y="4150632"/>
                <a:ext cx="778696" cy="296165"/>
              </a:xfrm>
              <a:prstGeom prst="ellipse">
                <a:avLst/>
              </a:prstGeom>
              <a:solidFill>
                <a:srgbClr val="A5A5A5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53" name="Google Shape;453;p4"/>
            <p:cNvGrpSpPr/>
            <p:nvPr/>
          </p:nvGrpSpPr>
          <p:grpSpPr>
            <a:xfrm>
              <a:off x="5389557" y="4155741"/>
              <a:ext cx="552459" cy="552459"/>
              <a:chOff x="5389557" y="4155741"/>
              <a:chExt cx="552459" cy="552459"/>
            </a:xfrm>
          </p:grpSpPr>
          <p:sp>
            <p:nvSpPr>
              <p:cNvPr id="454" name="Google Shape;454;p4"/>
              <p:cNvSpPr/>
              <p:nvPr/>
            </p:nvSpPr>
            <p:spPr>
              <a:xfrm>
                <a:off x="5389557" y="4155741"/>
                <a:ext cx="552459" cy="552459"/>
              </a:xfrm>
              <a:prstGeom prst="ellipse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  <p:pic>
            <p:nvPicPr>
              <p:cNvPr id="455" name="Google Shape;455;p4"/>
              <p:cNvPicPr preferRelativeResize="0"/>
              <p:nvPr/>
            </p:nvPicPr>
            <p:blipFill rotWithShape="1">
              <a:blip r:embed="rId16">
                <a:alphaModFix/>
              </a:blip>
              <a:srcRect/>
              <a:stretch/>
            </p:blipFill>
            <p:spPr>
              <a:xfrm>
                <a:off x="5502212" y="4267234"/>
                <a:ext cx="325730" cy="32572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</p:spTree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p5"/>
          <p:cNvSpPr/>
          <p:nvPr/>
        </p:nvSpPr>
        <p:spPr>
          <a:xfrm>
            <a:off x="14711" y="2763957"/>
            <a:ext cx="5484942" cy="2077320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461" name="Google Shape;461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19423" y="787221"/>
            <a:ext cx="4835560" cy="491700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62" name="Google Shape;462;p5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63" name="Google Shape;463;p5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4" name="Google Shape;464;p5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5" name="Google Shape;465;p5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6" name="Google Shape;466;p5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467" name="Google Shape;467;p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468" name="Google Shape;468;p5"/>
          <p:cNvSpPr txBox="1"/>
          <p:nvPr/>
        </p:nvSpPr>
        <p:spPr>
          <a:xfrm>
            <a:off x="630176" y="376050"/>
            <a:ext cx="7158900" cy="144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 dirty="0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Новорождённые чёрные списки</a:t>
            </a:r>
            <a:endParaRPr dirty="0"/>
          </a:p>
        </p:txBody>
      </p:sp>
      <p:grpSp>
        <p:nvGrpSpPr>
          <p:cNvPr id="469" name="Google Shape;469;p5"/>
          <p:cNvGrpSpPr/>
          <p:nvPr/>
        </p:nvGrpSpPr>
        <p:grpSpPr>
          <a:xfrm>
            <a:off x="630183" y="2161919"/>
            <a:ext cx="5051622" cy="847113"/>
            <a:chOff x="630183" y="2161919"/>
            <a:chExt cx="5051622" cy="847113"/>
          </a:xfrm>
        </p:grpSpPr>
        <p:sp>
          <p:nvSpPr>
            <p:cNvPr id="470" name="Google Shape;470;p5"/>
            <p:cNvSpPr/>
            <p:nvPr/>
          </p:nvSpPr>
          <p:spPr>
            <a:xfrm>
              <a:off x="630183" y="2161919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71" name="Google Shape;471;p5"/>
            <p:cNvSpPr txBox="1"/>
            <p:nvPr/>
          </p:nvSpPr>
          <p:spPr>
            <a:xfrm>
              <a:off x="1554545" y="2447414"/>
              <a:ext cx="3812583" cy="25494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Единая точка проверки клиентов по ЧС</a:t>
              </a:r>
              <a:endParaRPr/>
            </a:p>
          </p:txBody>
        </p:sp>
        <p:sp>
          <p:nvSpPr>
            <p:cNvPr id="472" name="Google Shape;472;p5"/>
            <p:cNvSpPr/>
            <p:nvPr/>
          </p:nvSpPr>
          <p:spPr>
            <a:xfrm>
              <a:off x="756367" y="2267808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473" name="Google Shape;473;p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928928" y="2397705"/>
              <a:ext cx="290209" cy="36702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74" name="Google Shape;474;p5"/>
          <p:cNvGrpSpPr/>
          <p:nvPr/>
        </p:nvGrpSpPr>
        <p:grpSpPr>
          <a:xfrm>
            <a:off x="630183" y="3220005"/>
            <a:ext cx="5051622" cy="847113"/>
            <a:chOff x="630183" y="3220005"/>
            <a:chExt cx="5051622" cy="847113"/>
          </a:xfrm>
        </p:grpSpPr>
        <p:sp>
          <p:nvSpPr>
            <p:cNvPr id="475" name="Google Shape;475;p5"/>
            <p:cNvSpPr/>
            <p:nvPr/>
          </p:nvSpPr>
          <p:spPr>
            <a:xfrm>
              <a:off x="630183" y="3220005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76" name="Google Shape;476;p5"/>
            <p:cNvSpPr txBox="1"/>
            <p:nvPr/>
          </p:nvSpPr>
          <p:spPr>
            <a:xfrm>
              <a:off x="1554547" y="3365462"/>
              <a:ext cx="3918600" cy="495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Нагрузка сейчас </a:t>
              </a:r>
              <a:r>
                <a:rPr lang="ru-RU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— </a:t>
              </a: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7 млн запросов в месяц.</a:t>
              </a:r>
              <a:endParaRPr/>
            </a:p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1 сек </a:t>
              </a:r>
              <a:r>
                <a:rPr lang="ru-RU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— </a:t>
              </a: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ремя ответа</a:t>
              </a:r>
              <a:endParaRPr/>
            </a:p>
          </p:txBody>
        </p:sp>
        <p:sp>
          <p:nvSpPr>
            <p:cNvPr id="477" name="Google Shape;477;p5"/>
            <p:cNvSpPr/>
            <p:nvPr/>
          </p:nvSpPr>
          <p:spPr>
            <a:xfrm>
              <a:off x="756367" y="3325894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478" name="Google Shape;478;p5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900404" y="3520505"/>
              <a:ext cx="365921" cy="26380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479" name="Google Shape;479;p5"/>
          <p:cNvGrpSpPr/>
          <p:nvPr/>
        </p:nvGrpSpPr>
        <p:grpSpPr>
          <a:xfrm>
            <a:off x="630183" y="4278473"/>
            <a:ext cx="5051622" cy="847113"/>
            <a:chOff x="630183" y="4278473"/>
            <a:chExt cx="5051622" cy="847113"/>
          </a:xfrm>
        </p:grpSpPr>
        <p:sp>
          <p:nvSpPr>
            <p:cNvPr id="480" name="Google Shape;480;p5"/>
            <p:cNvSpPr/>
            <p:nvPr/>
          </p:nvSpPr>
          <p:spPr>
            <a:xfrm>
              <a:off x="630183" y="42784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14901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81" name="Google Shape;481;p5"/>
            <p:cNvSpPr txBox="1"/>
            <p:nvPr/>
          </p:nvSpPr>
          <p:spPr>
            <a:xfrm>
              <a:off x="1554547" y="4423933"/>
              <a:ext cx="3515164" cy="5350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l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роверка по недействительным паспортам, </a:t>
              </a:r>
              <a:r>
                <a:rPr lang="ru-RU" sz="1400" b="1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RIP</a:t>
              </a:r>
              <a:endParaRPr/>
            </a:p>
          </p:txBody>
        </p:sp>
        <p:sp>
          <p:nvSpPr>
            <p:cNvPr id="482" name="Google Shape;482;p5"/>
            <p:cNvSpPr/>
            <p:nvPr/>
          </p:nvSpPr>
          <p:spPr>
            <a:xfrm>
              <a:off x="756367" y="4384362"/>
              <a:ext cx="635335" cy="635335"/>
            </a:xfrm>
            <a:prstGeom prst="ellipse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483" name="Google Shape;483;p5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861157" y="4557441"/>
              <a:ext cx="425754" cy="283836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4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Google Shape;488;p6"/>
          <p:cNvSpPr/>
          <p:nvPr/>
        </p:nvSpPr>
        <p:spPr>
          <a:xfrm>
            <a:off x="0" y="2473638"/>
            <a:ext cx="12192000" cy="2345276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489" name="Google Shape;489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17101" y="718622"/>
            <a:ext cx="4999286" cy="510940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90" name="Google Shape;490;p6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91" name="Google Shape;491;p6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Google Shape;492;p6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6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Google Shape;494;p6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495" name="Google Shape;495;p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496" name="Google Shape;496;p6"/>
          <p:cNvSpPr txBox="1"/>
          <p:nvPr/>
        </p:nvSpPr>
        <p:spPr>
          <a:xfrm>
            <a:off x="630163" y="376050"/>
            <a:ext cx="34041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ДБО</a:t>
            </a:r>
            <a:endParaRPr/>
          </a:p>
        </p:txBody>
      </p:sp>
      <p:sp>
        <p:nvSpPr>
          <p:cNvPr id="497" name="Google Shape;497;p6"/>
          <p:cNvSpPr/>
          <p:nvPr/>
        </p:nvSpPr>
        <p:spPr>
          <a:xfrm>
            <a:off x="630180" y="2226223"/>
            <a:ext cx="5333737" cy="2726654"/>
          </a:xfrm>
          <a:prstGeom prst="roundRect">
            <a:avLst>
              <a:gd name="adj" fmla="val 8571"/>
            </a:avLst>
          </a:prstGeom>
          <a:solidFill>
            <a:schemeClr val="lt1"/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98" name="Google Shape;498;p6"/>
          <p:cNvSpPr txBox="1"/>
          <p:nvPr/>
        </p:nvSpPr>
        <p:spPr>
          <a:xfrm>
            <a:off x="839254" y="2435388"/>
            <a:ext cx="4915500" cy="23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</a:pPr>
            <a:r>
              <a:rPr lang="ru-RU" sz="1600">
                <a:solidFill>
                  <a:srgbClr val="0D0D0D"/>
                </a:solidFill>
                <a:latin typeface="Roboto Light"/>
                <a:ea typeface="Roboto Light"/>
                <a:cs typeface="Roboto Light"/>
                <a:sym typeface="Roboto Light"/>
              </a:rPr>
              <a:t>Один из первых операционных сценариев использования ЕК — подключение к ДБО.</a:t>
            </a:r>
            <a:endParaRPr/>
          </a:p>
          <a:p>
            <a:pPr marL="285750" marR="0" lvl="0" indent="-18415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None/>
            </a:pPr>
            <a:endParaRPr sz="1600">
              <a:solidFill>
                <a:srgbClr val="0D0D0D"/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</a:pPr>
            <a:r>
              <a:rPr lang="ru-RU" sz="1600">
                <a:solidFill>
                  <a:srgbClr val="0D0D0D"/>
                </a:solidFill>
                <a:latin typeface="Roboto Light"/>
                <a:ea typeface="Roboto Light"/>
                <a:cs typeface="Roboto Light"/>
                <a:sym typeface="Roboto Light"/>
              </a:rPr>
              <a:t>В 2016 году при объединении с ХМБО была задача показать клиентам счета и продукты </a:t>
            </a:r>
            <a:br>
              <a:rPr lang="ru-RU" sz="1600">
                <a:solidFill>
                  <a:srgbClr val="0D0D0D"/>
                </a:solidFill>
                <a:latin typeface="Roboto Light"/>
                <a:ea typeface="Roboto Light"/>
                <a:cs typeface="Roboto Light"/>
                <a:sym typeface="Roboto Light"/>
              </a:rPr>
            </a:br>
            <a:r>
              <a:rPr lang="ru-RU" sz="1600">
                <a:solidFill>
                  <a:srgbClr val="0D0D0D"/>
                </a:solidFill>
                <a:latin typeface="Roboto Light"/>
                <a:ea typeface="Roboto Light"/>
                <a:cs typeface="Roboto Light"/>
                <a:sym typeface="Roboto Light"/>
              </a:rPr>
              <a:t>из АБС обоих банков.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0D0D0D"/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</a:pPr>
            <a:r>
              <a:rPr lang="ru-RU" sz="1600">
                <a:solidFill>
                  <a:srgbClr val="0D0D0D"/>
                </a:solidFill>
                <a:latin typeface="Roboto Light"/>
                <a:ea typeface="Roboto Light"/>
                <a:cs typeface="Roboto Light"/>
                <a:sym typeface="Roboto Light"/>
              </a:rPr>
              <a:t>До сих пор ЕК рассказывает ДБО, в каких системах искать продукты клиента.</a:t>
            </a:r>
            <a:endParaRPr/>
          </a:p>
        </p:txBody>
      </p:sp>
    </p:spTree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p7"/>
          <p:cNvSpPr/>
          <p:nvPr/>
        </p:nvSpPr>
        <p:spPr>
          <a:xfrm>
            <a:off x="5932" y="2698938"/>
            <a:ext cx="12192000" cy="2083802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512" name="Google Shape;512;p7"/>
          <p:cNvGrpSpPr/>
          <p:nvPr/>
        </p:nvGrpSpPr>
        <p:grpSpPr>
          <a:xfrm>
            <a:off x="12806473" y="2223235"/>
            <a:ext cx="2808945" cy="2830100"/>
            <a:chOff x="3803461" y="1446918"/>
            <a:chExt cx="4585078" cy="4619610"/>
          </a:xfrm>
        </p:grpSpPr>
        <p:sp>
          <p:nvSpPr>
            <p:cNvPr id="513" name="Google Shape;513;p7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rPr>
                <a:t>ВЫСТРОИЛИДОВЕРЕННЫЙОБРАТНЫЙПОТОК</a:t>
              </a: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14" name="Google Shape;514;p7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редитные конвейеры</a:t>
              </a:r>
              <a:endParaRPr/>
            </a:p>
          </p:txBody>
        </p:sp>
        <p:pic>
          <p:nvPicPr>
            <p:cNvPr id="515" name="Google Shape;515;p7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161194" y="2493471"/>
              <a:ext cx="3790004" cy="288253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16" name="Google Shape;516;p7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517" name="Google Shape;517;p7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8" name="Google Shape;518;p7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9" name="Google Shape;519;p7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0" name="Google Shape;520;p7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21" name="Google Shape;521;p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522" name="Google Shape;522;p7"/>
          <p:cNvSpPr txBox="1"/>
          <p:nvPr/>
        </p:nvSpPr>
        <p:spPr>
          <a:xfrm>
            <a:off x="630183" y="376044"/>
            <a:ext cx="892744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Другие сценарии использования</a:t>
            </a:r>
            <a:endParaRPr/>
          </a:p>
        </p:txBody>
      </p:sp>
      <p:grpSp>
        <p:nvGrpSpPr>
          <p:cNvPr id="22" name="Google Shape;528;p8">
            <a:extLst>
              <a:ext uri="{FF2B5EF4-FFF2-40B4-BE49-F238E27FC236}">
                <a16:creationId xmlns:a16="http://schemas.microsoft.com/office/drawing/2014/main" id="{2A7FDDD7-2FA5-48BE-A0C4-1AEE374493B1}"/>
              </a:ext>
            </a:extLst>
          </p:cNvPr>
          <p:cNvGrpSpPr/>
          <p:nvPr/>
        </p:nvGrpSpPr>
        <p:grpSpPr>
          <a:xfrm>
            <a:off x="8898615" y="2223235"/>
            <a:ext cx="2808945" cy="2830100"/>
            <a:chOff x="3803461" y="1446918"/>
            <a:chExt cx="4585078" cy="4619610"/>
          </a:xfrm>
        </p:grpSpPr>
        <p:sp>
          <p:nvSpPr>
            <p:cNvPr id="23" name="Google Shape;529;p8">
              <a:extLst>
                <a:ext uri="{FF2B5EF4-FFF2-40B4-BE49-F238E27FC236}">
                  <a16:creationId xmlns:a16="http://schemas.microsoft.com/office/drawing/2014/main" id="{EF79EAD5-31FB-403D-946D-90EA5EBE66B8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24" name="Google Shape;530;p8">
              <a:extLst>
                <a:ext uri="{FF2B5EF4-FFF2-40B4-BE49-F238E27FC236}">
                  <a16:creationId xmlns:a16="http://schemas.microsoft.com/office/drawing/2014/main" id="{4D94A610-5EC8-4BA3-AA45-BCB62AEACEA7}"/>
                </a:ext>
              </a:extLst>
            </p:cNvPr>
            <p:cNvSpPr txBox="1"/>
            <p:nvPr/>
          </p:nvSpPr>
          <p:spPr>
            <a:xfrm>
              <a:off x="5227076" y="1754323"/>
              <a:ext cx="1737847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олл-центр</a:t>
              </a:r>
              <a:endParaRPr/>
            </a:p>
          </p:txBody>
        </p:sp>
        <p:pic>
          <p:nvPicPr>
            <p:cNvPr id="25" name="Google Shape;531;p8">
              <a:extLst>
                <a:ext uri="{FF2B5EF4-FFF2-40B4-BE49-F238E27FC236}">
                  <a16:creationId xmlns:a16="http://schemas.microsoft.com/office/drawing/2014/main" id="{0CE17FB0-EE7C-4802-80E8-2294C3D61F0A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315145" y="2349501"/>
              <a:ext cx="3561707" cy="3302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6" name="Google Shape;532;p8">
            <a:extLst>
              <a:ext uri="{FF2B5EF4-FFF2-40B4-BE49-F238E27FC236}">
                <a16:creationId xmlns:a16="http://schemas.microsoft.com/office/drawing/2014/main" id="{0A247D9F-3639-41C7-8C65-C138BB615E3C}"/>
              </a:ext>
            </a:extLst>
          </p:cNvPr>
          <p:cNvGrpSpPr/>
          <p:nvPr/>
        </p:nvGrpSpPr>
        <p:grpSpPr>
          <a:xfrm>
            <a:off x="3803461" y="1446918"/>
            <a:ext cx="4585078" cy="4619610"/>
            <a:chOff x="3803461" y="1446918"/>
            <a:chExt cx="4585078" cy="4619610"/>
          </a:xfrm>
        </p:grpSpPr>
        <p:sp>
          <p:nvSpPr>
            <p:cNvPr id="27" name="Google Shape;533;p8">
              <a:extLst>
                <a:ext uri="{FF2B5EF4-FFF2-40B4-BE49-F238E27FC236}">
                  <a16:creationId xmlns:a16="http://schemas.microsoft.com/office/drawing/2014/main" id="{B91A367D-E44A-499C-B7E2-5AB81E0DA0A3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28" name="Google Shape;534;p8">
              <a:extLst>
                <a:ext uri="{FF2B5EF4-FFF2-40B4-BE49-F238E27FC236}">
                  <a16:creationId xmlns:a16="http://schemas.microsoft.com/office/drawing/2014/main" id="{5970E198-8C1F-42DA-9C4F-1DB74BAEC4FF}"/>
                </a:ext>
              </a:extLst>
            </p:cNvPr>
            <p:cNvSpPr txBox="1"/>
            <p:nvPr/>
          </p:nvSpPr>
          <p:spPr>
            <a:xfrm>
              <a:off x="4161194" y="1780171"/>
              <a:ext cx="3869612" cy="364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0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оказываем клиента на фронте</a:t>
              </a:r>
              <a:endParaRPr/>
            </a:p>
          </p:txBody>
        </p:sp>
        <p:pic>
          <p:nvPicPr>
            <p:cNvPr id="29" name="Google Shape;535;p8">
              <a:extLst>
                <a:ext uri="{FF2B5EF4-FFF2-40B4-BE49-F238E27FC236}">
                  <a16:creationId xmlns:a16="http://schemas.microsoft.com/office/drawing/2014/main" id="{D90D2910-FE5C-4504-9AA6-A9B102C0E2FB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520996" y="2391571"/>
              <a:ext cx="3150008" cy="3163824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343013600"/>
      </p:ext>
    </p:extLst>
  </p:cSld>
  <p:clrMapOvr>
    <a:masterClrMapping/>
  </p:clrMapOvr>
  <p:transition spd="slow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8"/>
          <p:cNvSpPr/>
          <p:nvPr/>
        </p:nvSpPr>
        <p:spPr>
          <a:xfrm>
            <a:off x="5932" y="2698938"/>
            <a:ext cx="12192000" cy="2083802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536" name="Google Shape;536;p8"/>
          <p:cNvGrpSpPr/>
          <p:nvPr/>
        </p:nvGrpSpPr>
        <p:grpSpPr>
          <a:xfrm>
            <a:off x="8898616" y="2223235"/>
            <a:ext cx="2808945" cy="2830100"/>
            <a:chOff x="3803461" y="1446918"/>
            <a:chExt cx="4585078" cy="4619610"/>
          </a:xfrm>
        </p:grpSpPr>
        <p:sp>
          <p:nvSpPr>
            <p:cNvPr id="537" name="Google Shape;537;p8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rPr>
                <a:t>ВЫСТРОИЛИДОВЕРЕННЫЙОБРАТНЫЙПОТОК</a:t>
              </a: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38" name="Google Shape;538;p8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редитные конвейеры</a:t>
              </a:r>
              <a:endParaRPr/>
            </a:p>
          </p:txBody>
        </p:sp>
        <p:pic>
          <p:nvPicPr>
            <p:cNvPr id="539" name="Google Shape;539;p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142097" y="2440790"/>
              <a:ext cx="3790004" cy="288253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40" name="Google Shape;540;p8"/>
          <p:cNvGrpSpPr/>
          <p:nvPr/>
        </p:nvGrpSpPr>
        <p:grpSpPr>
          <a:xfrm>
            <a:off x="12708009" y="2220276"/>
            <a:ext cx="2808945" cy="2830100"/>
            <a:chOff x="3803461" y="1446918"/>
            <a:chExt cx="4585078" cy="4619610"/>
          </a:xfrm>
        </p:grpSpPr>
        <p:sp>
          <p:nvSpPr>
            <p:cNvPr id="541" name="Google Shape;541;p8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42" name="Google Shape;542;p8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заимодействие с ФОИВ</a:t>
              </a:r>
              <a:endParaRPr/>
            </a:p>
          </p:txBody>
        </p:sp>
        <p:pic>
          <p:nvPicPr>
            <p:cNvPr id="543" name="Google Shape;543;p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358510" y="2477626"/>
              <a:ext cx="3474980" cy="288713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44" name="Google Shape;544;p8"/>
          <p:cNvGrpSpPr/>
          <p:nvPr/>
        </p:nvGrpSpPr>
        <p:grpSpPr>
          <a:xfrm>
            <a:off x="15856992" y="2220276"/>
            <a:ext cx="2808944" cy="2830100"/>
            <a:chOff x="3803461" y="1446918"/>
            <a:chExt cx="4585078" cy="4619610"/>
          </a:xfrm>
        </p:grpSpPr>
        <p:sp>
          <p:nvSpPr>
            <p:cNvPr id="545" name="Google Shape;545;p8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46" name="Google Shape;546;p8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одключение банка к СБП</a:t>
              </a:r>
              <a:endParaRPr/>
            </a:p>
          </p:txBody>
        </p:sp>
        <p:pic>
          <p:nvPicPr>
            <p:cNvPr id="547" name="Google Shape;547;p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4377267" y="2332567"/>
              <a:ext cx="3437466" cy="343746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48" name="Google Shape;548;p8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549" name="Google Shape;549;p8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8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1" name="Google Shape;551;p8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2" name="Google Shape;552;p8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53" name="Google Shape;553;p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554" name="Google Shape;554;p8"/>
          <p:cNvSpPr txBox="1"/>
          <p:nvPr/>
        </p:nvSpPr>
        <p:spPr>
          <a:xfrm>
            <a:off x="630183" y="376044"/>
            <a:ext cx="892744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Другие сценарии использования</a:t>
            </a:r>
            <a:endParaRPr/>
          </a:p>
        </p:txBody>
      </p:sp>
      <p:grpSp>
        <p:nvGrpSpPr>
          <p:cNvPr id="34" name="Google Shape;564;p9">
            <a:extLst>
              <a:ext uri="{FF2B5EF4-FFF2-40B4-BE49-F238E27FC236}">
                <a16:creationId xmlns:a16="http://schemas.microsoft.com/office/drawing/2014/main" id="{0EE6C1AB-7525-43A4-94A5-1779E514D81E}"/>
              </a:ext>
            </a:extLst>
          </p:cNvPr>
          <p:cNvGrpSpPr/>
          <p:nvPr/>
        </p:nvGrpSpPr>
        <p:grpSpPr>
          <a:xfrm>
            <a:off x="587600" y="2238390"/>
            <a:ext cx="2793903" cy="2814945"/>
            <a:chOff x="3803461" y="1446918"/>
            <a:chExt cx="4585078" cy="4619610"/>
          </a:xfrm>
        </p:grpSpPr>
        <p:sp>
          <p:nvSpPr>
            <p:cNvPr id="35" name="Google Shape;565;p9">
              <a:extLst>
                <a:ext uri="{FF2B5EF4-FFF2-40B4-BE49-F238E27FC236}">
                  <a16:creationId xmlns:a16="http://schemas.microsoft.com/office/drawing/2014/main" id="{10D2F86F-CCFD-4DC3-B6D3-74FE97C37BE0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36" name="Google Shape;566;p9">
              <a:extLst>
                <a:ext uri="{FF2B5EF4-FFF2-40B4-BE49-F238E27FC236}">
                  <a16:creationId xmlns:a16="http://schemas.microsoft.com/office/drawing/2014/main" id="{7B3B210A-E0AF-4D53-9E95-D3B8ED16582E}"/>
                </a:ext>
              </a:extLst>
            </p:cNvPr>
            <p:cNvSpPr txBox="1"/>
            <p:nvPr/>
          </p:nvSpPr>
          <p:spPr>
            <a:xfrm>
              <a:off x="4161193" y="1782963"/>
              <a:ext cx="3869612" cy="3586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оказываем клиента на фронте</a:t>
              </a:r>
              <a:endParaRPr/>
            </a:p>
          </p:txBody>
        </p:sp>
        <p:pic>
          <p:nvPicPr>
            <p:cNvPr id="37" name="Google Shape;567;p9">
              <a:extLst>
                <a:ext uri="{FF2B5EF4-FFF2-40B4-BE49-F238E27FC236}">
                  <a16:creationId xmlns:a16="http://schemas.microsoft.com/office/drawing/2014/main" id="{1E6A75F1-66DF-487E-AFF2-FAFDA9C82345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4520996" y="2391571"/>
              <a:ext cx="3150008" cy="316382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8" name="Google Shape;504;p7">
            <a:extLst>
              <a:ext uri="{FF2B5EF4-FFF2-40B4-BE49-F238E27FC236}">
                <a16:creationId xmlns:a16="http://schemas.microsoft.com/office/drawing/2014/main" id="{4DA7E3F3-5382-408D-83AD-24A0FE89E200}"/>
              </a:ext>
            </a:extLst>
          </p:cNvPr>
          <p:cNvGrpSpPr/>
          <p:nvPr/>
        </p:nvGrpSpPr>
        <p:grpSpPr>
          <a:xfrm>
            <a:off x="3803461" y="1446918"/>
            <a:ext cx="4585078" cy="4619610"/>
            <a:chOff x="3803461" y="1446918"/>
            <a:chExt cx="4585078" cy="4619610"/>
          </a:xfrm>
        </p:grpSpPr>
        <p:sp>
          <p:nvSpPr>
            <p:cNvPr id="39" name="Google Shape;505;p7">
              <a:extLst>
                <a:ext uri="{FF2B5EF4-FFF2-40B4-BE49-F238E27FC236}">
                  <a16:creationId xmlns:a16="http://schemas.microsoft.com/office/drawing/2014/main" id="{20E6777B-B94E-4105-BE12-01A9A0517487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0" name="Google Shape;506;p7">
              <a:extLst>
                <a:ext uri="{FF2B5EF4-FFF2-40B4-BE49-F238E27FC236}">
                  <a16:creationId xmlns:a16="http://schemas.microsoft.com/office/drawing/2014/main" id="{9EA6EAEE-AF9E-4F9E-BE0D-47188DBC90F8}"/>
                </a:ext>
              </a:extLst>
            </p:cNvPr>
            <p:cNvSpPr txBox="1"/>
            <p:nvPr/>
          </p:nvSpPr>
          <p:spPr>
            <a:xfrm>
              <a:off x="5227076" y="1750570"/>
              <a:ext cx="1737847" cy="364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0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олл-центр</a:t>
              </a:r>
              <a:endParaRPr/>
            </a:p>
          </p:txBody>
        </p:sp>
        <p:pic>
          <p:nvPicPr>
            <p:cNvPr id="41" name="Google Shape;507;p7">
              <a:extLst>
                <a:ext uri="{FF2B5EF4-FFF2-40B4-BE49-F238E27FC236}">
                  <a16:creationId xmlns:a16="http://schemas.microsoft.com/office/drawing/2014/main" id="{4591D86B-331E-406F-9563-1CEBA44E8B89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4315146" y="2349500"/>
              <a:ext cx="3561707" cy="3302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custDataLst>
      <p:tags r:id="rId1"/>
    </p:custData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8"/>
          <p:cNvSpPr/>
          <p:nvPr/>
        </p:nvSpPr>
        <p:spPr>
          <a:xfrm>
            <a:off x="5932" y="2698938"/>
            <a:ext cx="12192000" cy="2083802"/>
          </a:xfrm>
          <a:prstGeom prst="roundRect">
            <a:avLst>
              <a:gd name="adj" fmla="val 0"/>
            </a:avLst>
          </a:prstGeom>
          <a:solidFill>
            <a:schemeClr val="lt1">
              <a:alpha val="95686"/>
            </a:schemeClr>
          </a:solidFill>
          <a:ln>
            <a:noFill/>
          </a:ln>
          <a:effectLst>
            <a:outerShdw blurRad="1003300" sx="102000" sy="102000" algn="ctr" rotWithShape="0">
              <a:schemeClr val="dk1">
                <a:alpha val="20000"/>
              </a:scheme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528" name="Google Shape;528;p8"/>
          <p:cNvGrpSpPr/>
          <p:nvPr/>
        </p:nvGrpSpPr>
        <p:grpSpPr>
          <a:xfrm>
            <a:off x="500225" y="2223235"/>
            <a:ext cx="2808945" cy="2830100"/>
            <a:chOff x="3803461" y="1446918"/>
            <a:chExt cx="4585078" cy="4619610"/>
          </a:xfrm>
        </p:grpSpPr>
        <p:sp>
          <p:nvSpPr>
            <p:cNvPr id="529" name="Google Shape;529;p8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30" name="Google Shape;530;p8"/>
            <p:cNvSpPr txBox="1"/>
            <p:nvPr/>
          </p:nvSpPr>
          <p:spPr>
            <a:xfrm>
              <a:off x="5227076" y="1754323"/>
              <a:ext cx="1737847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олл-центр</a:t>
              </a:r>
              <a:endParaRPr/>
            </a:p>
          </p:txBody>
        </p:sp>
        <p:pic>
          <p:nvPicPr>
            <p:cNvPr id="531" name="Google Shape;531;p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315145" y="2349501"/>
              <a:ext cx="3561707" cy="33020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40" name="Google Shape;540;p8"/>
          <p:cNvGrpSpPr/>
          <p:nvPr/>
        </p:nvGrpSpPr>
        <p:grpSpPr>
          <a:xfrm>
            <a:off x="8898616" y="2223235"/>
            <a:ext cx="2808945" cy="2830100"/>
            <a:chOff x="3803461" y="1446918"/>
            <a:chExt cx="4585078" cy="4619610"/>
          </a:xfrm>
        </p:grpSpPr>
        <p:sp>
          <p:nvSpPr>
            <p:cNvPr id="541" name="Google Shape;541;p8"/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42" name="Google Shape;542;p8"/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Взаимодействие с ФОИВ</a:t>
              </a:r>
              <a:endParaRPr/>
            </a:p>
          </p:txBody>
        </p:sp>
        <p:pic>
          <p:nvPicPr>
            <p:cNvPr id="543" name="Google Shape;543;p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358510" y="2477626"/>
              <a:ext cx="3474980" cy="288713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48" name="Google Shape;548;p8"/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549" name="Google Shape;549;p8"/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0" name="Google Shape;550;p8"/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/>
              <a:ahLst/>
              <a:cxnLst/>
              <a:rect l="l" t="t" r="r" b="b"/>
              <a:pathLst>
                <a:path w="1394458" h="273890" extrusionOk="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1" name="Google Shape;551;p8"/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/>
              <a:ahLst/>
              <a:cxnLst/>
              <a:rect l="l" t="t" r="r" b="b"/>
              <a:pathLst>
                <a:path w="774600" h="259834" extrusionOk="0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2" name="Google Shape;552;p8"/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/>
              <a:ahLst/>
              <a:cxnLst/>
              <a:rect l="l" t="t" r="r" b="b"/>
              <a:pathLst>
                <a:path w="774600" h="259829" extrusionOk="0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53" name="Google Shape;553;p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30183" y="6072381"/>
            <a:ext cx="2124075" cy="409575"/>
          </a:xfrm>
          <a:prstGeom prst="rect">
            <a:avLst/>
          </a:prstGeom>
          <a:noFill/>
          <a:ln>
            <a:noFill/>
          </a:ln>
        </p:spPr>
      </p:pic>
      <p:sp>
        <p:nvSpPr>
          <p:cNvPr id="554" name="Google Shape;554;p8"/>
          <p:cNvSpPr txBox="1"/>
          <p:nvPr/>
        </p:nvSpPr>
        <p:spPr>
          <a:xfrm>
            <a:off x="630183" y="376044"/>
            <a:ext cx="8927444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400" b="1">
                <a:solidFill>
                  <a:srgbClr val="484848"/>
                </a:solidFill>
                <a:latin typeface="Roboto"/>
                <a:ea typeface="Roboto"/>
                <a:cs typeface="Roboto"/>
                <a:sym typeface="Roboto"/>
              </a:rPr>
              <a:t>Другие сценарии использования</a:t>
            </a:r>
            <a:endParaRPr/>
          </a:p>
        </p:txBody>
      </p:sp>
      <p:grpSp>
        <p:nvGrpSpPr>
          <p:cNvPr id="30" name="Google Shape;596;p10">
            <a:extLst>
              <a:ext uri="{FF2B5EF4-FFF2-40B4-BE49-F238E27FC236}">
                <a16:creationId xmlns:a16="http://schemas.microsoft.com/office/drawing/2014/main" id="{ABCA8888-77C8-48A5-9C95-2438C963B3A1}"/>
              </a:ext>
            </a:extLst>
          </p:cNvPr>
          <p:cNvGrpSpPr/>
          <p:nvPr/>
        </p:nvGrpSpPr>
        <p:grpSpPr>
          <a:xfrm>
            <a:off x="-3882800" y="2238390"/>
            <a:ext cx="2793903" cy="2814945"/>
            <a:chOff x="3803461" y="1446918"/>
            <a:chExt cx="4585078" cy="4619610"/>
          </a:xfrm>
        </p:grpSpPr>
        <p:sp>
          <p:nvSpPr>
            <p:cNvPr id="31" name="Google Shape;597;p10">
              <a:extLst>
                <a:ext uri="{FF2B5EF4-FFF2-40B4-BE49-F238E27FC236}">
                  <a16:creationId xmlns:a16="http://schemas.microsoft.com/office/drawing/2014/main" id="{B66F3260-DA7D-44E3-BC22-61ACA15AFC17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32" name="Google Shape;598;p10">
              <a:extLst>
                <a:ext uri="{FF2B5EF4-FFF2-40B4-BE49-F238E27FC236}">
                  <a16:creationId xmlns:a16="http://schemas.microsoft.com/office/drawing/2014/main" id="{93EDFABA-E9FE-4D95-95ED-1CAD073D5466}"/>
                </a:ext>
              </a:extLst>
            </p:cNvPr>
            <p:cNvSpPr txBox="1"/>
            <p:nvPr/>
          </p:nvSpPr>
          <p:spPr>
            <a:xfrm>
              <a:off x="4161193" y="1782963"/>
              <a:ext cx="3869612" cy="3586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Показываем клиента на фронте</a:t>
              </a:r>
              <a:endParaRPr/>
            </a:p>
          </p:txBody>
        </p:sp>
        <p:pic>
          <p:nvPicPr>
            <p:cNvPr id="33" name="Google Shape;599;p10">
              <a:extLst>
                <a:ext uri="{FF2B5EF4-FFF2-40B4-BE49-F238E27FC236}">
                  <a16:creationId xmlns:a16="http://schemas.microsoft.com/office/drawing/2014/main" id="{5AB52EF9-F4A3-46F1-805F-1A6C11911FD0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520996" y="2391571"/>
              <a:ext cx="3150008" cy="316382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4" name="Google Shape;568;p9">
            <a:extLst>
              <a:ext uri="{FF2B5EF4-FFF2-40B4-BE49-F238E27FC236}">
                <a16:creationId xmlns:a16="http://schemas.microsoft.com/office/drawing/2014/main" id="{28BEC9E0-7A01-443F-A159-6D28752ED607}"/>
              </a:ext>
            </a:extLst>
          </p:cNvPr>
          <p:cNvGrpSpPr/>
          <p:nvPr/>
        </p:nvGrpSpPr>
        <p:grpSpPr>
          <a:xfrm>
            <a:off x="3803461" y="1446918"/>
            <a:ext cx="4585078" cy="4619610"/>
            <a:chOff x="3803461" y="1446918"/>
            <a:chExt cx="4585078" cy="4619610"/>
          </a:xfrm>
        </p:grpSpPr>
        <p:sp>
          <p:nvSpPr>
            <p:cNvPr id="35" name="Google Shape;569;p9">
              <a:extLst>
                <a:ext uri="{FF2B5EF4-FFF2-40B4-BE49-F238E27FC236}">
                  <a16:creationId xmlns:a16="http://schemas.microsoft.com/office/drawing/2014/main" id="{1E5B1ACC-1A58-404C-AB92-77ACAF7CA36E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/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FFFFFF"/>
                  </a:solidFill>
                  <a:latin typeface="Roboto"/>
                  <a:ea typeface="Roboto"/>
                  <a:cs typeface="Roboto"/>
                  <a:sym typeface="Roboto"/>
                </a:rPr>
                <a:t>ВЫСТРОИЛИДОВЕРЕННЫЙОБРАТНЫЙПОТОК</a:t>
              </a: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36" name="Google Shape;570;p9">
              <a:extLst>
                <a:ext uri="{FF2B5EF4-FFF2-40B4-BE49-F238E27FC236}">
                  <a16:creationId xmlns:a16="http://schemas.microsoft.com/office/drawing/2014/main" id="{B0DE1D12-54ED-442E-B579-40AB43E94F94}"/>
                </a:ext>
              </a:extLst>
            </p:cNvPr>
            <p:cNvSpPr txBox="1"/>
            <p:nvPr/>
          </p:nvSpPr>
          <p:spPr>
            <a:xfrm>
              <a:off x="4161194" y="1780171"/>
              <a:ext cx="3869612" cy="36420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20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Кредитные конвейеры</a:t>
              </a:r>
              <a:endParaRPr/>
            </a:p>
          </p:txBody>
        </p:sp>
        <p:pic>
          <p:nvPicPr>
            <p:cNvPr id="37" name="Google Shape;571;p9">
              <a:extLst>
                <a:ext uri="{FF2B5EF4-FFF2-40B4-BE49-F238E27FC236}">
                  <a16:creationId xmlns:a16="http://schemas.microsoft.com/office/drawing/2014/main" id="{C88D6FED-0190-47FB-8EBA-77C1928615EE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4091142" y="2495497"/>
              <a:ext cx="3790006" cy="287848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8" name="Google Shape;608;p10">
            <a:extLst>
              <a:ext uri="{FF2B5EF4-FFF2-40B4-BE49-F238E27FC236}">
                <a16:creationId xmlns:a16="http://schemas.microsoft.com/office/drawing/2014/main" id="{04CF11F5-1BA4-4735-A0C7-9F6401A3889D}"/>
              </a:ext>
            </a:extLst>
          </p:cNvPr>
          <p:cNvGrpSpPr/>
          <p:nvPr/>
        </p:nvGrpSpPr>
        <p:grpSpPr>
          <a:xfrm>
            <a:off x="13149618" y="2223235"/>
            <a:ext cx="2808944" cy="2830100"/>
            <a:chOff x="3803461" y="1446918"/>
            <a:chExt cx="4585078" cy="4619610"/>
          </a:xfrm>
        </p:grpSpPr>
        <p:sp>
          <p:nvSpPr>
            <p:cNvPr id="39" name="Google Shape;609;p10">
              <a:extLst>
                <a:ext uri="{FF2B5EF4-FFF2-40B4-BE49-F238E27FC236}">
                  <a16:creationId xmlns:a16="http://schemas.microsoft.com/office/drawing/2014/main" id="{E5FE5E82-5B9A-4BCE-988C-2D31FF6974FD}"/>
                </a:ext>
              </a:extLst>
            </p:cNvPr>
            <p:cNvSpPr/>
            <p:nvPr/>
          </p:nvSpPr>
          <p:spPr>
            <a:xfrm>
              <a:off x="3803461" y="1446918"/>
              <a:ext cx="4585078" cy="4619610"/>
            </a:xfrm>
            <a:prstGeom prst="roundRect">
              <a:avLst>
                <a:gd name="adj" fmla="val 8571"/>
              </a:avLst>
            </a:prstGeom>
            <a:solidFill>
              <a:schemeClr val="lt1">
                <a:alpha val="95686"/>
              </a:schemeClr>
            </a:solidFill>
            <a:ln>
              <a:noFill/>
            </a:ln>
            <a:effectLst>
              <a:outerShdw blurRad="1003300" sx="102000" sy="102000" algn="ctr" rotWithShape="0">
                <a:schemeClr val="dk1">
                  <a:alpha val="20000"/>
                </a:schemeClr>
              </a:outerShdw>
            </a:effectLst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FFFFFF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0" name="Google Shape;610;p10">
              <a:extLst>
                <a:ext uri="{FF2B5EF4-FFF2-40B4-BE49-F238E27FC236}">
                  <a16:creationId xmlns:a16="http://schemas.microsoft.com/office/drawing/2014/main" id="{A9676243-6BCD-4461-AD58-891D2A80B331}"/>
                </a:ext>
              </a:extLst>
            </p:cNvPr>
            <p:cNvSpPr txBox="1"/>
            <p:nvPr/>
          </p:nvSpPr>
          <p:spPr>
            <a:xfrm>
              <a:off x="4161194" y="1783924"/>
              <a:ext cx="3869612" cy="3566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 marL="0" marR="0" lvl="0" indent="0" algn="ctr" rtl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>
                  <a:solidFill>
                    <a:srgbClr val="0D0D0D"/>
                  </a:solidFill>
                  <a:latin typeface="Roboto Light"/>
                  <a:ea typeface="Roboto Light"/>
                  <a:cs typeface="Roboto Light"/>
                  <a:sym typeface="Roboto Light"/>
                </a:rPr>
                <a:t>Обработка СБП</a:t>
              </a:r>
              <a:endParaRPr/>
            </a:p>
          </p:txBody>
        </p:sp>
        <p:pic>
          <p:nvPicPr>
            <p:cNvPr id="41" name="Google Shape;611;p10">
              <a:extLst>
                <a:ext uri="{FF2B5EF4-FFF2-40B4-BE49-F238E27FC236}">
                  <a16:creationId xmlns:a16="http://schemas.microsoft.com/office/drawing/2014/main" id="{8690F2F2-5C0D-4489-9B2B-580162183A3B}"/>
                </a:ext>
              </a:extLst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4377267" y="2332567"/>
              <a:ext cx="3437466" cy="3437466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6195634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Тема Office">
  <a:themeElements>
    <a:clrScheme name="HF Labs">
      <a:dk1>
        <a:srgbClr val="0D0D0D"/>
      </a:dk1>
      <a:lt1>
        <a:srgbClr val="FFFFFF"/>
      </a:lt1>
      <a:dk2>
        <a:srgbClr val="F6F6F6"/>
      </a:dk2>
      <a:lt2>
        <a:srgbClr val="EC4741"/>
      </a:lt2>
      <a:accent1>
        <a:srgbClr val="FF725E"/>
      </a:accent1>
      <a:accent2>
        <a:srgbClr val="F37637"/>
      </a:accent2>
      <a:accent3>
        <a:srgbClr val="41B857"/>
      </a:accent3>
      <a:accent4>
        <a:srgbClr val="5169F6"/>
      </a:accent4>
      <a:accent5>
        <a:srgbClr val="F9C344"/>
      </a:accent5>
      <a:accent6>
        <a:srgbClr val="432C9C"/>
      </a:accent6>
      <a:hlink>
        <a:srgbClr val="0C0C0C"/>
      </a:hlink>
      <a:folHlink>
        <a:srgbClr val="0C0C0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352</Words>
  <Application>Microsoft Office PowerPoint</Application>
  <PresentationFormat>Широкоэкранный</PresentationFormat>
  <Paragraphs>95</Paragraphs>
  <Slides>16</Slides>
  <Notes>1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2" baseType="lpstr">
      <vt:lpstr>Calibri</vt:lpstr>
      <vt:lpstr>Roboto Light</vt:lpstr>
      <vt:lpstr>Roboto</vt:lpstr>
      <vt:lpstr>Poppins</vt:lpstr>
      <vt:lpstr>Arial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FLabs</dc:creator>
  <cp:lastModifiedBy>HFLabs</cp:lastModifiedBy>
  <cp:revision>5</cp:revision>
  <dcterms:created xsi:type="dcterms:W3CDTF">2023-08-25T08:12:05Z</dcterms:created>
  <dcterms:modified xsi:type="dcterms:W3CDTF">2023-09-16T14:13:38Z</dcterms:modified>
</cp:coreProperties>
</file>